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6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706" r:id="rId2"/>
    <p:sldId id="2910" r:id="rId3"/>
    <p:sldId id="2911" r:id="rId4"/>
    <p:sldId id="2913" r:id="rId5"/>
    <p:sldId id="2912" r:id="rId6"/>
    <p:sldId id="2926" r:id="rId7"/>
    <p:sldId id="2915" r:id="rId8"/>
    <p:sldId id="2927" r:id="rId9"/>
    <p:sldId id="2929" r:id="rId10"/>
    <p:sldId id="2914" r:id="rId11"/>
    <p:sldId id="2916" r:id="rId12"/>
    <p:sldId id="2917" r:id="rId13"/>
    <p:sldId id="2934" r:id="rId14"/>
    <p:sldId id="2930" r:id="rId15"/>
    <p:sldId id="2918" r:id="rId16"/>
    <p:sldId id="2919" r:id="rId17"/>
    <p:sldId id="2932" r:id="rId18"/>
    <p:sldId id="2920" r:id="rId19"/>
    <p:sldId id="2935" r:id="rId20"/>
    <p:sldId id="2921" r:id="rId21"/>
    <p:sldId id="2922" r:id="rId22"/>
    <p:sldId id="2700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232" userDrawn="1">
          <p15:clr>
            <a:srgbClr val="A4A3A4"/>
          </p15:clr>
        </p15:guide>
        <p15:guide id="3" orient="horz" pos="4122">
          <p15:clr>
            <a:srgbClr val="A4A3A4"/>
          </p15:clr>
        </p15:guide>
        <p15:guide id="4" pos="292">
          <p15:clr>
            <a:srgbClr val="A4A3A4"/>
          </p15:clr>
        </p15:guide>
        <p15:guide id="5" pos="7383">
          <p15:clr>
            <a:srgbClr val="A4A3A4"/>
          </p15:clr>
        </p15:guide>
        <p15:guide id="6" pos="42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ctoria Bokareva@IBM" initials="VB" lastIdx="5" clrIdx="0"/>
  <p:cmAuthor id="2" name="Marina.Pochinok" initials="M" lastIdx="1" clrIdx="1"/>
  <p:cmAuthor id="3" name="Darren Hughes" initials="DHU" lastIdx="15" clrIdx="2"/>
  <p:cmAuthor id="4" name="Nikolai Pochinok" initials="NP" lastIdx="1" clrIdx="3"/>
  <p:cmAuthor id="5" name="Артем Маделян" initials="АМ" lastIdx="5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  <a:srgbClr val="D883FF"/>
    <a:srgbClr val="9437FF"/>
    <a:srgbClr val="7030A0"/>
    <a:srgbClr val="000000"/>
    <a:srgbClr val="3E494F"/>
    <a:srgbClr val="E6CEB0"/>
    <a:srgbClr val="990099"/>
    <a:srgbClr val="D600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505" autoAdjust="0"/>
    <p:restoredTop sz="95273" autoAdjust="0"/>
  </p:normalViewPr>
  <p:slideViewPr>
    <p:cSldViewPr snapToGrid="0">
      <p:cViewPr varScale="1">
        <p:scale>
          <a:sx n="88" d="100"/>
          <a:sy n="88" d="100"/>
        </p:scale>
        <p:origin x="822" y="78"/>
      </p:cViewPr>
      <p:guideLst>
        <p:guide orient="horz" pos="2160"/>
        <p:guide pos="1232"/>
        <p:guide orient="horz" pos="4122"/>
        <p:guide pos="292"/>
        <p:guide pos="7383"/>
        <p:guide pos="420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5" d="100"/>
          <a:sy n="55" d="100"/>
        </p:scale>
        <p:origin x="288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5E1D8C0-715B-496B-A90A-E5B7B5A40DA2}" type="doc">
      <dgm:prSet loTypeId="urn:microsoft.com/office/officeart/2005/8/layout/hierarchy3" loCatId="hierarchy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RU"/>
        </a:p>
      </dgm:t>
    </dgm:pt>
    <dgm:pt modelId="{40C2A163-3157-4881-81AB-1D79DFA8422D}">
      <dgm:prSet phldrT="[Текст]" custT="1"/>
      <dgm:spPr/>
      <dgm:t>
        <a:bodyPr/>
        <a:lstStyle/>
        <a:p>
          <a:r>
            <a:rPr lang="ru-RU" sz="1200" dirty="0" smtClean="0"/>
            <a:t>Методология взаимодействия участников</a:t>
          </a:r>
          <a:endParaRPr lang="ru-RU" sz="1200" dirty="0"/>
        </a:p>
      </dgm:t>
    </dgm:pt>
    <dgm:pt modelId="{77616961-FFFC-40DB-AC10-32D5D6410A6D}" type="parTrans" cxnId="{327EBD53-25F1-4D8F-B65B-E949A314C184}">
      <dgm:prSet/>
      <dgm:spPr/>
      <dgm:t>
        <a:bodyPr/>
        <a:lstStyle/>
        <a:p>
          <a:endParaRPr lang="ru-RU"/>
        </a:p>
      </dgm:t>
    </dgm:pt>
    <dgm:pt modelId="{1979251F-6286-4BF9-903B-0EB4A55A3122}" type="sibTrans" cxnId="{327EBD53-25F1-4D8F-B65B-E949A314C184}">
      <dgm:prSet/>
      <dgm:spPr/>
      <dgm:t>
        <a:bodyPr/>
        <a:lstStyle/>
        <a:p>
          <a:endParaRPr lang="ru-RU"/>
        </a:p>
      </dgm:t>
    </dgm:pt>
    <dgm:pt modelId="{9BDE7454-5D68-4BEB-952D-796B430D1537}">
      <dgm:prSet phldrT="[Текст]" custT="1"/>
      <dgm:spPr/>
      <dgm:t>
        <a:bodyPr/>
        <a:lstStyle/>
        <a:p>
          <a:r>
            <a:rPr lang="ru-RU" sz="1200" dirty="0" smtClean="0"/>
            <a:t>Определение финансовых ежегодных показателей </a:t>
          </a:r>
          <a:endParaRPr lang="ru-RU" sz="1200" dirty="0"/>
        </a:p>
      </dgm:t>
    </dgm:pt>
    <dgm:pt modelId="{F4411F8E-D201-4B99-BCB7-CB3B507D2BB5}" type="parTrans" cxnId="{020BC7A9-F63A-4F8E-89D1-05EEF420764A}">
      <dgm:prSet/>
      <dgm:spPr/>
      <dgm:t>
        <a:bodyPr/>
        <a:lstStyle/>
        <a:p>
          <a:endParaRPr lang="ru-RU"/>
        </a:p>
      </dgm:t>
    </dgm:pt>
    <dgm:pt modelId="{5E86E7A9-D06C-4F4F-9311-D789BD736647}" type="sibTrans" cxnId="{020BC7A9-F63A-4F8E-89D1-05EEF420764A}">
      <dgm:prSet/>
      <dgm:spPr/>
      <dgm:t>
        <a:bodyPr/>
        <a:lstStyle/>
        <a:p>
          <a:endParaRPr lang="ru-RU"/>
        </a:p>
      </dgm:t>
    </dgm:pt>
    <dgm:pt modelId="{BF39BEB8-A7D1-43D8-AE89-B503B6B83843}">
      <dgm:prSet phldrT="[Текст]" custT="1"/>
      <dgm:spPr/>
      <dgm:t>
        <a:bodyPr/>
        <a:lstStyle/>
        <a:p>
          <a:r>
            <a:rPr lang="ru-RU" sz="1200" dirty="0" smtClean="0"/>
            <a:t>Разграничение ролей, делегирование экспертов</a:t>
          </a:r>
          <a:endParaRPr lang="ru-RU" sz="1200" dirty="0"/>
        </a:p>
      </dgm:t>
    </dgm:pt>
    <dgm:pt modelId="{D1659592-E0C0-4F48-8F24-B1891526C9EB}" type="parTrans" cxnId="{D94FBEEA-8F1E-43D7-BC47-53A550209A87}">
      <dgm:prSet/>
      <dgm:spPr/>
      <dgm:t>
        <a:bodyPr/>
        <a:lstStyle/>
        <a:p>
          <a:endParaRPr lang="ru-RU"/>
        </a:p>
      </dgm:t>
    </dgm:pt>
    <dgm:pt modelId="{7157065A-715B-43C3-A19A-9CA185305077}" type="sibTrans" cxnId="{D94FBEEA-8F1E-43D7-BC47-53A550209A87}">
      <dgm:prSet/>
      <dgm:spPr/>
      <dgm:t>
        <a:bodyPr/>
        <a:lstStyle/>
        <a:p>
          <a:endParaRPr lang="ru-RU"/>
        </a:p>
      </dgm:t>
    </dgm:pt>
    <dgm:pt modelId="{75098242-9F52-4A85-90D8-92DF42C81301}">
      <dgm:prSet custT="1"/>
      <dgm:spPr/>
      <dgm:t>
        <a:bodyPr/>
        <a:lstStyle/>
        <a:p>
          <a:r>
            <a:rPr lang="ru-RU" sz="1200" dirty="0" smtClean="0"/>
            <a:t>Электронный сводный каталог стандартов зеленых насаждений</a:t>
          </a:r>
          <a:endParaRPr lang="ru-RU" sz="1200" dirty="0"/>
        </a:p>
      </dgm:t>
    </dgm:pt>
    <dgm:pt modelId="{7FF1E96A-934E-4274-A077-340561F4D12D}" type="parTrans" cxnId="{7F5C3DCE-0043-4AF0-A09E-1DE9DEEE286E}">
      <dgm:prSet/>
      <dgm:spPr/>
      <dgm:t>
        <a:bodyPr/>
        <a:lstStyle/>
        <a:p>
          <a:endParaRPr lang="ru-RU"/>
        </a:p>
      </dgm:t>
    </dgm:pt>
    <dgm:pt modelId="{539C4742-8DEF-49AF-B027-058EF223308E}" type="sibTrans" cxnId="{7F5C3DCE-0043-4AF0-A09E-1DE9DEEE286E}">
      <dgm:prSet/>
      <dgm:spPr/>
      <dgm:t>
        <a:bodyPr/>
        <a:lstStyle/>
        <a:p>
          <a:endParaRPr lang="ru-RU"/>
        </a:p>
      </dgm:t>
    </dgm:pt>
    <dgm:pt modelId="{B36A9839-4FCB-408D-AE77-E3B5F5187B8E}">
      <dgm:prSet custT="1"/>
      <dgm:spPr/>
      <dgm:t>
        <a:bodyPr/>
        <a:lstStyle/>
        <a:p>
          <a:r>
            <a:rPr lang="ru-RU" sz="1200" dirty="0" smtClean="0"/>
            <a:t>Определение методики утверждения плана мероприятий</a:t>
          </a:r>
          <a:endParaRPr lang="ru-RU" sz="1200" dirty="0"/>
        </a:p>
      </dgm:t>
    </dgm:pt>
    <dgm:pt modelId="{CEC6D156-289E-41B8-8DB1-5AB558B40C61}" type="parTrans" cxnId="{FC6B7FEE-9464-45FF-8A0C-0265D83E0361}">
      <dgm:prSet/>
      <dgm:spPr/>
      <dgm:t>
        <a:bodyPr/>
        <a:lstStyle/>
        <a:p>
          <a:endParaRPr lang="ru-RU"/>
        </a:p>
      </dgm:t>
    </dgm:pt>
    <dgm:pt modelId="{1082ECA0-8349-4D1A-ACAA-E305D8364566}" type="sibTrans" cxnId="{FC6B7FEE-9464-45FF-8A0C-0265D83E0361}">
      <dgm:prSet/>
      <dgm:spPr/>
      <dgm:t>
        <a:bodyPr/>
        <a:lstStyle/>
        <a:p>
          <a:endParaRPr lang="ru-RU"/>
        </a:p>
      </dgm:t>
    </dgm:pt>
    <dgm:pt modelId="{FD001A6C-205D-4B78-AF81-F7467EA69776}">
      <dgm:prSet custT="1"/>
      <dgm:spPr/>
      <dgm:t>
        <a:bodyPr/>
        <a:lstStyle/>
        <a:p>
          <a:r>
            <a:rPr lang="ru-RU" sz="1200" dirty="0" smtClean="0"/>
            <a:t>Видовой состав по ступеням, условиям высадки</a:t>
          </a:r>
          <a:endParaRPr lang="ru-RU" sz="1200" dirty="0"/>
        </a:p>
      </dgm:t>
    </dgm:pt>
    <dgm:pt modelId="{F461E540-B50F-4072-B4E2-0CBD7A7FA488}" type="parTrans" cxnId="{C16B6395-DD7D-4DF3-BF97-2A7FAD46EBFE}">
      <dgm:prSet/>
      <dgm:spPr/>
      <dgm:t>
        <a:bodyPr/>
        <a:lstStyle/>
        <a:p>
          <a:endParaRPr lang="ru-RU"/>
        </a:p>
      </dgm:t>
    </dgm:pt>
    <dgm:pt modelId="{F88AEC46-95C9-4C18-ACF7-FE23B1651995}" type="sibTrans" cxnId="{C16B6395-DD7D-4DF3-BF97-2A7FAD46EBFE}">
      <dgm:prSet/>
      <dgm:spPr/>
      <dgm:t>
        <a:bodyPr/>
        <a:lstStyle/>
        <a:p>
          <a:endParaRPr lang="ru-RU"/>
        </a:p>
      </dgm:t>
    </dgm:pt>
    <dgm:pt modelId="{2594BC48-5151-4E3B-BDBD-2DF4A2F41F49}">
      <dgm:prSet custT="1"/>
      <dgm:spPr/>
      <dgm:t>
        <a:bodyPr/>
        <a:lstStyle/>
        <a:p>
          <a:r>
            <a:rPr lang="ru-RU" sz="1200" dirty="0" smtClean="0"/>
            <a:t>Правила посадки, ухода и содержания</a:t>
          </a:r>
          <a:endParaRPr lang="ru-RU" sz="1200" dirty="0"/>
        </a:p>
      </dgm:t>
    </dgm:pt>
    <dgm:pt modelId="{2B4E0F95-FC7C-451C-966A-51DE17639429}" type="parTrans" cxnId="{129557A7-F3AD-48F8-A103-62088A11F4C6}">
      <dgm:prSet/>
      <dgm:spPr/>
      <dgm:t>
        <a:bodyPr/>
        <a:lstStyle/>
        <a:p>
          <a:endParaRPr lang="ru-RU"/>
        </a:p>
      </dgm:t>
    </dgm:pt>
    <dgm:pt modelId="{5BBEF977-DE40-4778-8D27-828C48784076}" type="sibTrans" cxnId="{129557A7-F3AD-48F8-A103-62088A11F4C6}">
      <dgm:prSet/>
      <dgm:spPr/>
      <dgm:t>
        <a:bodyPr/>
        <a:lstStyle/>
        <a:p>
          <a:endParaRPr lang="ru-RU"/>
        </a:p>
      </dgm:t>
    </dgm:pt>
    <dgm:pt modelId="{39CC808F-1AF0-40DF-A0BE-1D4E2C1D99CD}">
      <dgm:prSet custT="1"/>
      <dgm:spPr/>
      <dgm:t>
        <a:bodyPr/>
        <a:lstStyle/>
        <a:p>
          <a:r>
            <a:rPr lang="ru-RU" sz="1200" dirty="0" smtClean="0"/>
            <a:t>Питомники</a:t>
          </a:r>
          <a:endParaRPr lang="ru-RU" sz="1200" dirty="0"/>
        </a:p>
      </dgm:t>
    </dgm:pt>
    <dgm:pt modelId="{C943FDCB-3073-46AB-8832-FDF1B3C1E625}" type="parTrans" cxnId="{0E4845C8-51A7-4EA2-AD00-AC47AB11004F}">
      <dgm:prSet/>
      <dgm:spPr/>
      <dgm:t>
        <a:bodyPr/>
        <a:lstStyle/>
        <a:p>
          <a:endParaRPr lang="ru-RU"/>
        </a:p>
      </dgm:t>
    </dgm:pt>
    <dgm:pt modelId="{57DE1E67-AEBF-4542-AFD5-ED1494C003B2}" type="sibTrans" cxnId="{0E4845C8-51A7-4EA2-AD00-AC47AB11004F}">
      <dgm:prSet/>
      <dgm:spPr/>
      <dgm:t>
        <a:bodyPr/>
        <a:lstStyle/>
        <a:p>
          <a:endParaRPr lang="ru-RU"/>
        </a:p>
      </dgm:t>
    </dgm:pt>
    <dgm:pt modelId="{2C3FA1E6-8EB7-4413-9693-3653F28E51AA}">
      <dgm:prSet custT="1"/>
      <dgm:spPr/>
      <dgm:t>
        <a:bodyPr/>
        <a:lstStyle/>
        <a:p>
          <a:r>
            <a:rPr lang="ru-RU" sz="1200" dirty="0" smtClean="0"/>
            <a:t>Площадка взаимодействия</a:t>
          </a:r>
          <a:endParaRPr lang="ru-RU" sz="1200" dirty="0"/>
        </a:p>
      </dgm:t>
    </dgm:pt>
    <dgm:pt modelId="{1745A9A9-6B9D-461D-BA90-7A8348975047}" type="parTrans" cxnId="{E936BDA7-B6F1-493C-B931-991070180F50}">
      <dgm:prSet/>
      <dgm:spPr/>
      <dgm:t>
        <a:bodyPr/>
        <a:lstStyle/>
        <a:p>
          <a:endParaRPr lang="ru-RU"/>
        </a:p>
      </dgm:t>
    </dgm:pt>
    <dgm:pt modelId="{87406BFE-3FD5-4A95-8429-5E4F2A4E267F}" type="sibTrans" cxnId="{E936BDA7-B6F1-493C-B931-991070180F50}">
      <dgm:prSet/>
      <dgm:spPr/>
      <dgm:t>
        <a:bodyPr/>
        <a:lstStyle/>
        <a:p>
          <a:endParaRPr lang="ru-RU"/>
        </a:p>
      </dgm:t>
    </dgm:pt>
    <dgm:pt modelId="{2353B991-2CAE-4861-BE81-85ADF43A955B}">
      <dgm:prSet custT="1"/>
      <dgm:spPr/>
      <dgm:t>
        <a:bodyPr/>
        <a:lstStyle/>
        <a:p>
          <a:r>
            <a:rPr lang="ru-RU" sz="1200" dirty="0" smtClean="0"/>
            <a:t>Точка Кипения Красноярск</a:t>
          </a:r>
          <a:endParaRPr lang="ru-RU" sz="1200" dirty="0"/>
        </a:p>
      </dgm:t>
    </dgm:pt>
    <dgm:pt modelId="{EB76D7EF-BD79-4E37-9FEA-4A9B95FDE4F4}" type="parTrans" cxnId="{223588E6-4112-4202-BBA3-628E4DACA49B}">
      <dgm:prSet/>
      <dgm:spPr/>
      <dgm:t>
        <a:bodyPr/>
        <a:lstStyle/>
        <a:p>
          <a:endParaRPr lang="ru-RU"/>
        </a:p>
      </dgm:t>
    </dgm:pt>
    <dgm:pt modelId="{2AAE3F3D-D315-43FE-AB3F-57AA6379A493}" type="sibTrans" cxnId="{223588E6-4112-4202-BBA3-628E4DACA49B}">
      <dgm:prSet/>
      <dgm:spPr/>
      <dgm:t>
        <a:bodyPr/>
        <a:lstStyle/>
        <a:p>
          <a:endParaRPr lang="ru-RU"/>
        </a:p>
      </dgm:t>
    </dgm:pt>
    <dgm:pt modelId="{6CBC7EF4-80D5-4012-BEE0-5F65D75D1A11}">
      <dgm:prSet custT="1"/>
      <dgm:spPr/>
      <dgm:t>
        <a:bodyPr/>
        <a:lstStyle/>
        <a:p>
          <a:r>
            <a:rPr lang="ru-RU" sz="1200" dirty="0" smtClean="0"/>
            <a:t>Платформа «Активный Гражданин»</a:t>
          </a:r>
          <a:endParaRPr lang="ru-RU" sz="1200" dirty="0"/>
        </a:p>
      </dgm:t>
    </dgm:pt>
    <dgm:pt modelId="{334F24ED-865E-4381-AE95-2989385D9603}" type="parTrans" cxnId="{EA0D19FE-9A45-4300-8112-59D3C95B98E8}">
      <dgm:prSet/>
      <dgm:spPr/>
      <dgm:t>
        <a:bodyPr/>
        <a:lstStyle/>
        <a:p>
          <a:endParaRPr lang="ru-RU"/>
        </a:p>
      </dgm:t>
    </dgm:pt>
    <dgm:pt modelId="{C8DCDA28-5F63-4DE4-B708-26CE8E97941F}" type="sibTrans" cxnId="{EA0D19FE-9A45-4300-8112-59D3C95B98E8}">
      <dgm:prSet/>
      <dgm:spPr/>
      <dgm:t>
        <a:bodyPr/>
        <a:lstStyle/>
        <a:p>
          <a:endParaRPr lang="ru-RU"/>
        </a:p>
      </dgm:t>
    </dgm:pt>
    <dgm:pt modelId="{70D1F05A-66D9-40B9-B3DE-EFCA995FBDB3}">
      <dgm:prSet custT="1"/>
      <dgm:spPr/>
      <dgm:t>
        <a:bodyPr/>
        <a:lstStyle/>
        <a:p>
          <a:r>
            <a:rPr lang="ru-RU" sz="1200" dirty="0" smtClean="0"/>
            <a:t>Сеть питомников</a:t>
          </a:r>
          <a:endParaRPr lang="ru-RU" sz="1200" dirty="0"/>
        </a:p>
      </dgm:t>
    </dgm:pt>
    <dgm:pt modelId="{3732DB30-3324-444C-B68B-FC1B0BB71B8C}" type="parTrans" cxnId="{2F0D61A0-A474-4380-85F6-6DADA4762262}">
      <dgm:prSet/>
      <dgm:spPr/>
      <dgm:t>
        <a:bodyPr/>
        <a:lstStyle/>
        <a:p>
          <a:endParaRPr lang="ru-RU"/>
        </a:p>
      </dgm:t>
    </dgm:pt>
    <dgm:pt modelId="{1A09641E-288B-46B9-9B4A-27852A9DEBC5}" type="sibTrans" cxnId="{2F0D61A0-A474-4380-85F6-6DADA4762262}">
      <dgm:prSet/>
      <dgm:spPr/>
      <dgm:t>
        <a:bodyPr/>
        <a:lstStyle/>
        <a:p>
          <a:endParaRPr lang="ru-RU"/>
        </a:p>
      </dgm:t>
    </dgm:pt>
    <dgm:pt modelId="{E0E64A79-4204-4233-9075-FE770A069DBC}">
      <dgm:prSet custT="1"/>
      <dgm:spPr/>
      <dgm:t>
        <a:bodyPr/>
        <a:lstStyle/>
        <a:p>
          <a:r>
            <a:rPr lang="ru-RU" sz="1200" dirty="0" smtClean="0"/>
            <a:t>По видам зеленых насаждений</a:t>
          </a:r>
          <a:endParaRPr lang="ru-RU" sz="1200" dirty="0"/>
        </a:p>
      </dgm:t>
    </dgm:pt>
    <dgm:pt modelId="{FF34F023-15CA-4DED-A8C3-26DA615D5FDB}" type="parTrans" cxnId="{6EF4D449-1E41-46CF-9443-50F29D42F783}">
      <dgm:prSet/>
      <dgm:spPr/>
      <dgm:t>
        <a:bodyPr/>
        <a:lstStyle/>
        <a:p>
          <a:endParaRPr lang="ru-RU"/>
        </a:p>
      </dgm:t>
    </dgm:pt>
    <dgm:pt modelId="{BB3D750F-3CB2-4709-9C22-4F19A0F86FC5}" type="sibTrans" cxnId="{6EF4D449-1E41-46CF-9443-50F29D42F783}">
      <dgm:prSet/>
      <dgm:spPr/>
      <dgm:t>
        <a:bodyPr/>
        <a:lstStyle/>
        <a:p>
          <a:endParaRPr lang="ru-RU"/>
        </a:p>
      </dgm:t>
    </dgm:pt>
    <dgm:pt modelId="{EF676F32-85A1-4BCF-88A9-CB3CCE764A63}">
      <dgm:prSet custT="1"/>
      <dgm:spPr/>
      <dgm:t>
        <a:bodyPr/>
        <a:lstStyle/>
        <a:p>
          <a:r>
            <a:rPr lang="ru-RU" sz="1200" dirty="0" smtClean="0"/>
            <a:t>Рекультивационные</a:t>
          </a:r>
          <a:endParaRPr lang="ru-RU" sz="1200" dirty="0"/>
        </a:p>
      </dgm:t>
    </dgm:pt>
    <dgm:pt modelId="{3F415FA2-89CC-40D4-BA3C-FC169705549F}" type="parTrans" cxnId="{BF2A4164-FC05-4E18-A7A4-25639BDD7350}">
      <dgm:prSet/>
      <dgm:spPr/>
      <dgm:t>
        <a:bodyPr/>
        <a:lstStyle/>
        <a:p>
          <a:endParaRPr lang="ru-RU"/>
        </a:p>
      </dgm:t>
    </dgm:pt>
    <dgm:pt modelId="{1DB248B7-97E7-4628-B161-8CC6EDD24915}" type="sibTrans" cxnId="{BF2A4164-FC05-4E18-A7A4-25639BDD7350}">
      <dgm:prSet/>
      <dgm:spPr/>
      <dgm:t>
        <a:bodyPr/>
        <a:lstStyle/>
        <a:p>
          <a:endParaRPr lang="ru-RU"/>
        </a:p>
      </dgm:t>
    </dgm:pt>
    <dgm:pt modelId="{280E700D-C295-4826-A61B-8CC0179B7987}">
      <dgm:prSet custT="1"/>
      <dgm:spPr/>
      <dgm:t>
        <a:bodyPr/>
        <a:lstStyle/>
        <a:p>
          <a:r>
            <a:rPr lang="ru-RU" sz="1200" dirty="0" smtClean="0"/>
            <a:t>Городские территории со сниженным загрязнением атмосферы</a:t>
          </a:r>
          <a:endParaRPr lang="ru-RU" sz="1200" dirty="0"/>
        </a:p>
      </dgm:t>
    </dgm:pt>
    <dgm:pt modelId="{17EC9E53-E891-4E06-BF51-2E86ADA480E6}" type="parTrans" cxnId="{45C5B7FA-1245-414B-A3A0-4FF4B4A7930C}">
      <dgm:prSet/>
      <dgm:spPr/>
      <dgm:t>
        <a:bodyPr/>
        <a:lstStyle/>
        <a:p>
          <a:endParaRPr lang="ru-RU"/>
        </a:p>
      </dgm:t>
    </dgm:pt>
    <dgm:pt modelId="{F0AC4F25-2A66-4506-B85E-AE8F7070511C}" type="sibTrans" cxnId="{45C5B7FA-1245-414B-A3A0-4FF4B4A7930C}">
      <dgm:prSet/>
      <dgm:spPr/>
      <dgm:t>
        <a:bodyPr/>
        <a:lstStyle/>
        <a:p>
          <a:endParaRPr lang="ru-RU"/>
        </a:p>
      </dgm:t>
    </dgm:pt>
    <dgm:pt modelId="{9D2D9A9B-D9A0-443D-B548-C73E02D886D0}">
      <dgm:prSet custT="1"/>
      <dgm:spPr/>
      <dgm:t>
        <a:bodyPr/>
        <a:lstStyle/>
        <a:p>
          <a:r>
            <a:rPr lang="ru-RU" sz="1200" dirty="0" smtClean="0"/>
            <a:t>В жилой застройке для последующего развития</a:t>
          </a:r>
          <a:endParaRPr lang="ru-RU" sz="1200" dirty="0"/>
        </a:p>
      </dgm:t>
    </dgm:pt>
    <dgm:pt modelId="{36A87E53-C6F6-4EA7-8FB0-27B776FD7707}" type="parTrans" cxnId="{6BF06092-5E94-48DD-80E7-71171B9609E0}">
      <dgm:prSet/>
      <dgm:spPr/>
      <dgm:t>
        <a:bodyPr/>
        <a:lstStyle/>
        <a:p>
          <a:endParaRPr lang="ru-RU"/>
        </a:p>
      </dgm:t>
    </dgm:pt>
    <dgm:pt modelId="{F5A416B1-5B9B-4EB0-8788-CA3AD1343462}" type="sibTrans" cxnId="{6BF06092-5E94-48DD-80E7-71171B9609E0}">
      <dgm:prSet/>
      <dgm:spPr/>
      <dgm:t>
        <a:bodyPr/>
        <a:lstStyle/>
        <a:p>
          <a:endParaRPr lang="ru-RU"/>
        </a:p>
      </dgm:t>
    </dgm:pt>
    <dgm:pt modelId="{6C44FB3E-950B-4F56-B260-A92BED385A4B}">
      <dgm:prSet custT="1"/>
      <dgm:spPr/>
      <dgm:t>
        <a:bodyPr/>
        <a:lstStyle/>
        <a:p>
          <a:r>
            <a:rPr lang="ru-RU" sz="1200" dirty="0" smtClean="0"/>
            <a:t>На границах санитарных зон промпредприятий</a:t>
          </a:r>
          <a:endParaRPr lang="ru-RU" sz="1200" dirty="0"/>
        </a:p>
      </dgm:t>
    </dgm:pt>
    <dgm:pt modelId="{CEC5A080-8CDC-48FB-BE9D-64FA940C56DC}" type="parTrans" cxnId="{3C2D0F72-F101-410F-A176-33C32DA2F290}">
      <dgm:prSet/>
      <dgm:spPr/>
      <dgm:t>
        <a:bodyPr/>
        <a:lstStyle/>
        <a:p>
          <a:endParaRPr lang="ru-RU"/>
        </a:p>
      </dgm:t>
    </dgm:pt>
    <dgm:pt modelId="{869D8273-88A9-42D7-9226-A0CF5100C537}" type="sibTrans" cxnId="{3C2D0F72-F101-410F-A176-33C32DA2F290}">
      <dgm:prSet/>
      <dgm:spPr/>
      <dgm:t>
        <a:bodyPr/>
        <a:lstStyle/>
        <a:p>
          <a:endParaRPr lang="ru-RU"/>
        </a:p>
      </dgm:t>
    </dgm:pt>
    <dgm:pt modelId="{9B3CA06B-E39A-40E9-87F0-54B431D3BF3C}">
      <dgm:prSet custT="1"/>
      <dgm:spPr/>
      <dgm:t>
        <a:bodyPr/>
        <a:lstStyle/>
        <a:p>
          <a:r>
            <a:rPr lang="ru-RU" sz="1200" dirty="0" smtClean="0"/>
            <a:t>Для создания общественных пространств</a:t>
          </a:r>
          <a:endParaRPr lang="ru-RU" sz="1200" dirty="0"/>
        </a:p>
      </dgm:t>
    </dgm:pt>
    <dgm:pt modelId="{9EA3BF7B-22A5-4998-9A3A-D4740EF40ACB}" type="parTrans" cxnId="{0CC6F795-8ED2-4039-B908-4523957BFFB4}">
      <dgm:prSet/>
      <dgm:spPr/>
      <dgm:t>
        <a:bodyPr/>
        <a:lstStyle/>
        <a:p>
          <a:endParaRPr lang="ru-RU"/>
        </a:p>
      </dgm:t>
    </dgm:pt>
    <dgm:pt modelId="{FF01B47F-73E0-43CA-8791-D4C2D1E6BFF0}" type="sibTrans" cxnId="{0CC6F795-8ED2-4039-B908-4523957BFFB4}">
      <dgm:prSet/>
      <dgm:spPr/>
      <dgm:t>
        <a:bodyPr/>
        <a:lstStyle/>
        <a:p>
          <a:endParaRPr lang="ru-RU"/>
        </a:p>
      </dgm:t>
    </dgm:pt>
    <dgm:pt modelId="{EF886755-B01C-4E1E-9FE9-E9F37D00CDCB}">
      <dgm:prSet/>
      <dgm:spPr/>
      <dgm:t>
        <a:bodyPr/>
        <a:lstStyle/>
        <a:p>
          <a:r>
            <a:rPr lang="ru-RU" dirty="0" smtClean="0"/>
            <a:t>Вдоль магистральных городских дорог</a:t>
          </a:r>
          <a:endParaRPr lang="ru-RU" dirty="0"/>
        </a:p>
      </dgm:t>
    </dgm:pt>
    <dgm:pt modelId="{2F8AF931-72A9-426E-97FD-C5CB6B379392}" type="parTrans" cxnId="{E779E4CD-A0B1-4FCD-9E9D-35EB959C5E04}">
      <dgm:prSet/>
      <dgm:spPr/>
      <dgm:t>
        <a:bodyPr/>
        <a:lstStyle/>
        <a:p>
          <a:endParaRPr lang="ru-RU"/>
        </a:p>
      </dgm:t>
    </dgm:pt>
    <dgm:pt modelId="{95408E5A-27F5-4C5A-8D44-02D1DC602569}" type="sibTrans" cxnId="{E779E4CD-A0B1-4FCD-9E9D-35EB959C5E04}">
      <dgm:prSet/>
      <dgm:spPr/>
      <dgm:t>
        <a:bodyPr/>
        <a:lstStyle/>
        <a:p>
          <a:endParaRPr lang="ru-RU"/>
        </a:p>
      </dgm:t>
    </dgm:pt>
    <dgm:pt modelId="{DA936274-6A8B-4B7A-9E9B-CB3A94DB73F3}" type="pres">
      <dgm:prSet presAssocID="{A5E1D8C0-715B-496B-A90A-E5B7B5A40DA2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C238E0A8-D3DA-434E-BD65-37EEDE0549B9}" type="pres">
      <dgm:prSet presAssocID="{40C2A163-3157-4881-81AB-1D79DFA8422D}" presName="root" presStyleCnt="0"/>
      <dgm:spPr/>
    </dgm:pt>
    <dgm:pt modelId="{62F7DA56-3C12-40AD-B469-497BACEBA400}" type="pres">
      <dgm:prSet presAssocID="{40C2A163-3157-4881-81AB-1D79DFA8422D}" presName="rootComposite" presStyleCnt="0"/>
      <dgm:spPr/>
    </dgm:pt>
    <dgm:pt modelId="{BD2F9FE7-A559-4ED7-8B1E-CDBB9EE4176B}" type="pres">
      <dgm:prSet presAssocID="{40C2A163-3157-4881-81AB-1D79DFA8422D}" presName="rootText" presStyleLbl="node1" presStyleIdx="0" presStyleCnt="5" custScaleX="54194" custScaleY="65484" custLinFactNeighborX="1096"/>
      <dgm:spPr/>
      <dgm:t>
        <a:bodyPr/>
        <a:lstStyle/>
        <a:p>
          <a:endParaRPr lang="ru-RU"/>
        </a:p>
      </dgm:t>
    </dgm:pt>
    <dgm:pt modelId="{1082BBB6-5D70-43A7-9D7B-1ACA4451D83D}" type="pres">
      <dgm:prSet presAssocID="{40C2A163-3157-4881-81AB-1D79DFA8422D}" presName="rootConnector" presStyleLbl="node1" presStyleIdx="0" presStyleCnt="5"/>
      <dgm:spPr/>
      <dgm:t>
        <a:bodyPr/>
        <a:lstStyle/>
        <a:p>
          <a:endParaRPr lang="ru-RU"/>
        </a:p>
      </dgm:t>
    </dgm:pt>
    <dgm:pt modelId="{4025A261-1F2B-4423-B613-EB2A67CB7CC8}" type="pres">
      <dgm:prSet presAssocID="{40C2A163-3157-4881-81AB-1D79DFA8422D}" presName="childShape" presStyleCnt="0"/>
      <dgm:spPr/>
    </dgm:pt>
    <dgm:pt modelId="{23A27AAA-ADCE-4C05-A7CC-0E3758F21B02}" type="pres">
      <dgm:prSet presAssocID="{F4411F8E-D201-4B99-BCB7-CB3B507D2BB5}" presName="Name13" presStyleLbl="parChTrans1D2" presStyleIdx="0" presStyleCnt="14"/>
      <dgm:spPr/>
      <dgm:t>
        <a:bodyPr/>
        <a:lstStyle/>
        <a:p>
          <a:endParaRPr lang="ru-RU"/>
        </a:p>
      </dgm:t>
    </dgm:pt>
    <dgm:pt modelId="{8B35B43E-7EA3-4AC4-B2AC-4B609585CE9B}" type="pres">
      <dgm:prSet presAssocID="{9BDE7454-5D68-4BEB-952D-796B430D1537}" presName="childText" presStyleLbl="bgAcc1" presStyleIdx="0" presStyleCnt="14" custScaleX="60484" custScaleY="5505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8E1C1EF-2E40-4A17-BAEC-1614A8267C5E}" type="pres">
      <dgm:prSet presAssocID="{D1659592-E0C0-4F48-8F24-B1891526C9EB}" presName="Name13" presStyleLbl="parChTrans1D2" presStyleIdx="1" presStyleCnt="14"/>
      <dgm:spPr/>
      <dgm:t>
        <a:bodyPr/>
        <a:lstStyle/>
        <a:p>
          <a:endParaRPr lang="ru-RU"/>
        </a:p>
      </dgm:t>
    </dgm:pt>
    <dgm:pt modelId="{E9D79DBB-39AD-4BE4-AEAE-015DED3D28FC}" type="pres">
      <dgm:prSet presAssocID="{BF39BEB8-A7D1-43D8-AE89-B503B6B83843}" presName="childText" presStyleLbl="bgAcc1" presStyleIdx="1" presStyleCnt="14" custScaleX="60864" custScaleY="6824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0CF430F-A0D2-4E76-AC3F-BAE875331B30}" type="pres">
      <dgm:prSet presAssocID="{CEC6D156-289E-41B8-8DB1-5AB558B40C61}" presName="Name13" presStyleLbl="parChTrans1D2" presStyleIdx="2" presStyleCnt="14"/>
      <dgm:spPr/>
      <dgm:t>
        <a:bodyPr/>
        <a:lstStyle/>
        <a:p>
          <a:endParaRPr lang="ru-RU"/>
        </a:p>
      </dgm:t>
    </dgm:pt>
    <dgm:pt modelId="{760AF380-EBCA-4E81-94C8-C69D6F028EB6}" type="pres">
      <dgm:prSet presAssocID="{B36A9839-4FCB-408D-AE77-E3B5F5187B8E}" presName="childText" presStyleLbl="bgAcc1" presStyleIdx="2" presStyleCnt="14" custScaleX="73139" custScaleY="6194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D5F746-C635-4ACD-B60E-F0F19C1675CE}" type="pres">
      <dgm:prSet presAssocID="{75098242-9F52-4A85-90D8-92DF42C81301}" presName="root" presStyleCnt="0"/>
      <dgm:spPr/>
    </dgm:pt>
    <dgm:pt modelId="{F51E3954-4F9B-41BC-AAAB-3147CE5D5264}" type="pres">
      <dgm:prSet presAssocID="{75098242-9F52-4A85-90D8-92DF42C81301}" presName="rootComposite" presStyleCnt="0"/>
      <dgm:spPr/>
    </dgm:pt>
    <dgm:pt modelId="{28EF2C37-B302-4212-8451-3138667F6DE0}" type="pres">
      <dgm:prSet presAssocID="{75098242-9F52-4A85-90D8-92DF42C81301}" presName="rootText" presStyleLbl="node1" presStyleIdx="1" presStyleCnt="5" custScaleX="57555" custScaleY="71014" custLinFactNeighborX="-14738" custLinFactNeighborY="-1371"/>
      <dgm:spPr/>
      <dgm:t>
        <a:bodyPr/>
        <a:lstStyle/>
        <a:p>
          <a:endParaRPr lang="ru-RU"/>
        </a:p>
      </dgm:t>
    </dgm:pt>
    <dgm:pt modelId="{18887B87-426B-4945-AA0B-DE5DF453292F}" type="pres">
      <dgm:prSet presAssocID="{75098242-9F52-4A85-90D8-92DF42C81301}" presName="rootConnector" presStyleLbl="node1" presStyleIdx="1" presStyleCnt="5"/>
      <dgm:spPr/>
      <dgm:t>
        <a:bodyPr/>
        <a:lstStyle/>
        <a:p>
          <a:endParaRPr lang="ru-RU"/>
        </a:p>
      </dgm:t>
    </dgm:pt>
    <dgm:pt modelId="{FBE270E7-3677-4597-84BF-9DE70D30A173}" type="pres">
      <dgm:prSet presAssocID="{75098242-9F52-4A85-90D8-92DF42C81301}" presName="childShape" presStyleCnt="0"/>
      <dgm:spPr/>
    </dgm:pt>
    <dgm:pt modelId="{63C42A56-470A-4A3E-A467-66AD301AFFE8}" type="pres">
      <dgm:prSet presAssocID="{F461E540-B50F-4072-B4E2-0CBD7A7FA488}" presName="Name13" presStyleLbl="parChTrans1D2" presStyleIdx="3" presStyleCnt="14"/>
      <dgm:spPr/>
      <dgm:t>
        <a:bodyPr/>
        <a:lstStyle/>
        <a:p>
          <a:endParaRPr lang="ru-RU"/>
        </a:p>
      </dgm:t>
    </dgm:pt>
    <dgm:pt modelId="{7D2E3EDA-D0F0-427D-8534-13B02E41D096}" type="pres">
      <dgm:prSet presAssocID="{FD001A6C-205D-4B78-AF81-F7467EA69776}" presName="childText" presStyleLbl="bgAcc1" presStyleIdx="3" presStyleCnt="14" custScaleX="63885" custScaleY="57386" custLinFactNeighborX="-13814" custLinFactNeighborY="-245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33102E6-DED7-4A8E-BC41-159FE0CA5A77}" type="pres">
      <dgm:prSet presAssocID="{2B4E0F95-FC7C-451C-966A-51DE17639429}" presName="Name13" presStyleLbl="parChTrans1D2" presStyleIdx="4" presStyleCnt="14"/>
      <dgm:spPr/>
      <dgm:t>
        <a:bodyPr/>
        <a:lstStyle/>
        <a:p>
          <a:endParaRPr lang="ru-RU"/>
        </a:p>
      </dgm:t>
    </dgm:pt>
    <dgm:pt modelId="{286E08A5-1D5B-4205-820D-0A8EE348FC54}" type="pres">
      <dgm:prSet presAssocID="{2594BC48-5151-4E3B-BDBD-2DF4A2F41F49}" presName="childText" presStyleLbl="bgAcc1" presStyleIdx="4" presStyleCnt="14" custScaleX="65400" custScaleY="56245" custLinFactNeighborX="-10233" custLinFactNeighborY="-573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359681A-E412-4A78-8BAE-12D3897A7F33}" type="pres">
      <dgm:prSet presAssocID="{C943FDCB-3073-46AB-8832-FDF1B3C1E625}" presName="Name13" presStyleLbl="parChTrans1D2" presStyleIdx="5" presStyleCnt="14"/>
      <dgm:spPr/>
      <dgm:t>
        <a:bodyPr/>
        <a:lstStyle/>
        <a:p>
          <a:endParaRPr lang="ru-RU"/>
        </a:p>
      </dgm:t>
    </dgm:pt>
    <dgm:pt modelId="{99573FAB-C0B2-4583-947F-2E1069F7F48E}" type="pres">
      <dgm:prSet presAssocID="{39CC808F-1AF0-40DF-A0BE-1D4E2C1D99CD}" presName="childText" presStyleLbl="bgAcc1" presStyleIdx="5" presStyleCnt="14" custScaleX="66079" custScaleY="44778" custLinFactNeighborX="-9721" custLinFactNeighborY="-188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5699ED1-796E-488C-B701-A16487DAE302}" type="pres">
      <dgm:prSet presAssocID="{2C3FA1E6-8EB7-4413-9693-3653F28E51AA}" presName="root" presStyleCnt="0"/>
      <dgm:spPr/>
    </dgm:pt>
    <dgm:pt modelId="{A2E29655-B57B-473C-8900-9B7DA3331DD3}" type="pres">
      <dgm:prSet presAssocID="{2C3FA1E6-8EB7-4413-9693-3653F28E51AA}" presName="rootComposite" presStyleCnt="0"/>
      <dgm:spPr/>
    </dgm:pt>
    <dgm:pt modelId="{B59327FD-5821-4413-A7DE-1974379F56E0}" type="pres">
      <dgm:prSet presAssocID="{2C3FA1E6-8EB7-4413-9693-3653F28E51AA}" presName="rootText" presStyleLbl="node1" presStyleIdx="2" presStyleCnt="5" custScaleX="59104" custScaleY="42853" custLinFactNeighborX="-12772" custLinFactNeighborY="-1371"/>
      <dgm:spPr/>
      <dgm:t>
        <a:bodyPr/>
        <a:lstStyle/>
        <a:p>
          <a:endParaRPr lang="ru-RU"/>
        </a:p>
      </dgm:t>
    </dgm:pt>
    <dgm:pt modelId="{327DDFE5-703E-4C85-89F2-F1124F7EE77B}" type="pres">
      <dgm:prSet presAssocID="{2C3FA1E6-8EB7-4413-9693-3653F28E51AA}" presName="rootConnector" presStyleLbl="node1" presStyleIdx="2" presStyleCnt="5"/>
      <dgm:spPr/>
      <dgm:t>
        <a:bodyPr/>
        <a:lstStyle/>
        <a:p>
          <a:endParaRPr lang="ru-RU"/>
        </a:p>
      </dgm:t>
    </dgm:pt>
    <dgm:pt modelId="{4FC7F87E-97A0-4A43-8611-B010794D522B}" type="pres">
      <dgm:prSet presAssocID="{2C3FA1E6-8EB7-4413-9693-3653F28E51AA}" presName="childShape" presStyleCnt="0"/>
      <dgm:spPr/>
    </dgm:pt>
    <dgm:pt modelId="{78C534AD-B01B-40AB-92F6-69DB7592B46A}" type="pres">
      <dgm:prSet presAssocID="{EB76D7EF-BD79-4E37-9FEA-4A9B95FDE4F4}" presName="Name13" presStyleLbl="parChTrans1D2" presStyleIdx="6" presStyleCnt="14"/>
      <dgm:spPr/>
      <dgm:t>
        <a:bodyPr/>
        <a:lstStyle/>
        <a:p>
          <a:endParaRPr lang="ru-RU"/>
        </a:p>
      </dgm:t>
    </dgm:pt>
    <dgm:pt modelId="{5C77451B-923F-4A26-B55E-FBA0CA38E36E}" type="pres">
      <dgm:prSet presAssocID="{2353B991-2CAE-4861-BE81-85ADF43A955B}" presName="childText" presStyleLbl="bgAcc1" presStyleIdx="6" presStyleCnt="14" custScaleX="57786" custScaleY="4855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F79267B-7B1A-4BCF-97B2-32F0CD95522A}" type="pres">
      <dgm:prSet presAssocID="{334F24ED-865E-4381-AE95-2989385D9603}" presName="Name13" presStyleLbl="parChTrans1D2" presStyleIdx="7" presStyleCnt="14"/>
      <dgm:spPr/>
      <dgm:t>
        <a:bodyPr/>
        <a:lstStyle/>
        <a:p>
          <a:endParaRPr lang="ru-RU"/>
        </a:p>
      </dgm:t>
    </dgm:pt>
    <dgm:pt modelId="{DD440C79-E070-4F67-BA85-FC12198D0809}" type="pres">
      <dgm:prSet presAssocID="{6CBC7EF4-80D5-4012-BEE0-5F65D75D1A11}" presName="childText" presStyleLbl="bgAcc1" presStyleIdx="7" presStyleCnt="14" custScaleX="66284" custScaleY="5373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50CE355-1516-4445-B1B5-7EF11A2EB96F}" type="pres">
      <dgm:prSet presAssocID="{70D1F05A-66D9-40B9-B3DE-EFCA995FBDB3}" presName="root" presStyleCnt="0"/>
      <dgm:spPr/>
    </dgm:pt>
    <dgm:pt modelId="{693894B0-EB28-405F-895F-E56D07C7F07B}" type="pres">
      <dgm:prSet presAssocID="{70D1F05A-66D9-40B9-B3DE-EFCA995FBDB3}" presName="rootComposite" presStyleCnt="0"/>
      <dgm:spPr/>
    </dgm:pt>
    <dgm:pt modelId="{121C190A-BC39-4287-9CB3-817FA7CC1EF3}" type="pres">
      <dgm:prSet presAssocID="{70D1F05A-66D9-40B9-B3DE-EFCA995FBDB3}" presName="rootText" presStyleLbl="node1" presStyleIdx="3" presStyleCnt="5" custScaleX="58841" custScaleY="46800" custLinFactNeighborX="-13475" custLinFactNeighborY="-1371"/>
      <dgm:spPr/>
      <dgm:t>
        <a:bodyPr/>
        <a:lstStyle/>
        <a:p>
          <a:endParaRPr lang="ru-RU"/>
        </a:p>
      </dgm:t>
    </dgm:pt>
    <dgm:pt modelId="{439A44A9-B9B4-44E2-9715-9BE2CEABA29D}" type="pres">
      <dgm:prSet presAssocID="{70D1F05A-66D9-40B9-B3DE-EFCA995FBDB3}" presName="rootConnector" presStyleLbl="node1" presStyleIdx="3" presStyleCnt="5"/>
      <dgm:spPr/>
      <dgm:t>
        <a:bodyPr/>
        <a:lstStyle/>
        <a:p>
          <a:endParaRPr lang="ru-RU"/>
        </a:p>
      </dgm:t>
    </dgm:pt>
    <dgm:pt modelId="{FCB21573-C02F-451F-8434-8A66CAF5C511}" type="pres">
      <dgm:prSet presAssocID="{70D1F05A-66D9-40B9-B3DE-EFCA995FBDB3}" presName="childShape" presStyleCnt="0"/>
      <dgm:spPr/>
    </dgm:pt>
    <dgm:pt modelId="{DC2DAAB8-60F1-42C6-B570-219FC5DD2F74}" type="pres">
      <dgm:prSet presAssocID="{FF34F023-15CA-4DED-A8C3-26DA615D5FDB}" presName="Name13" presStyleLbl="parChTrans1D2" presStyleIdx="8" presStyleCnt="14"/>
      <dgm:spPr/>
      <dgm:t>
        <a:bodyPr/>
        <a:lstStyle/>
        <a:p>
          <a:endParaRPr lang="ru-RU"/>
        </a:p>
      </dgm:t>
    </dgm:pt>
    <dgm:pt modelId="{2C64871E-E575-44F3-8BD9-77963AD45C5C}" type="pres">
      <dgm:prSet presAssocID="{E0E64A79-4204-4233-9075-FE770A069DBC}" presName="childText" presStyleLbl="bgAcc1" presStyleIdx="8" presStyleCnt="14" custScaleX="70562" custScaleY="4386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62E453E-560F-4C23-A8E6-CCE0003481FB}" type="pres">
      <dgm:prSet presAssocID="{3F415FA2-89CC-40D4-BA3C-FC169705549F}" presName="Name13" presStyleLbl="parChTrans1D2" presStyleIdx="9" presStyleCnt="14"/>
      <dgm:spPr/>
      <dgm:t>
        <a:bodyPr/>
        <a:lstStyle/>
        <a:p>
          <a:endParaRPr lang="ru-RU"/>
        </a:p>
      </dgm:t>
    </dgm:pt>
    <dgm:pt modelId="{E07918AA-A8D0-4813-8309-1EAEE1D73AD4}" type="pres">
      <dgm:prSet presAssocID="{EF676F32-85A1-4BCF-88A9-CB3CCE764A63}" presName="childText" presStyleLbl="bgAcc1" presStyleIdx="9" presStyleCnt="14" custScaleX="84654" custScaleY="5416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15C3B08-4A5E-4AFD-B52A-6FF38D7B47A8}" type="pres">
      <dgm:prSet presAssocID="{280E700D-C295-4826-A61B-8CC0179B7987}" presName="root" presStyleCnt="0"/>
      <dgm:spPr/>
    </dgm:pt>
    <dgm:pt modelId="{FF4ABA77-3C5F-4E35-8E54-00208B3F399B}" type="pres">
      <dgm:prSet presAssocID="{280E700D-C295-4826-A61B-8CC0179B7987}" presName="rootComposite" presStyleCnt="0"/>
      <dgm:spPr/>
    </dgm:pt>
    <dgm:pt modelId="{782232DD-D04D-4C3A-B1D6-A80B50CBC6FE}" type="pres">
      <dgm:prSet presAssocID="{280E700D-C295-4826-A61B-8CC0179B7987}" presName="rootText" presStyleLbl="node1" presStyleIdx="4" presStyleCnt="5" custScaleX="68050" custScaleY="81541" custLinFactNeighborX="-9673" custLinFactNeighborY="157"/>
      <dgm:spPr/>
      <dgm:t>
        <a:bodyPr/>
        <a:lstStyle/>
        <a:p>
          <a:endParaRPr lang="ru-RU"/>
        </a:p>
      </dgm:t>
    </dgm:pt>
    <dgm:pt modelId="{F59493D3-CE98-4ECA-B702-BF9FEAED713F}" type="pres">
      <dgm:prSet presAssocID="{280E700D-C295-4826-A61B-8CC0179B7987}" presName="rootConnector" presStyleLbl="node1" presStyleIdx="4" presStyleCnt="5"/>
      <dgm:spPr/>
      <dgm:t>
        <a:bodyPr/>
        <a:lstStyle/>
        <a:p>
          <a:endParaRPr lang="ru-RU"/>
        </a:p>
      </dgm:t>
    </dgm:pt>
    <dgm:pt modelId="{BC127F33-22F0-4F18-872E-E629365A465F}" type="pres">
      <dgm:prSet presAssocID="{280E700D-C295-4826-A61B-8CC0179B7987}" presName="childShape" presStyleCnt="0"/>
      <dgm:spPr/>
    </dgm:pt>
    <dgm:pt modelId="{F60AB4F6-A7C4-42D9-9617-E20783DBA9A3}" type="pres">
      <dgm:prSet presAssocID="{CEC5A080-8CDC-48FB-BE9D-64FA940C56DC}" presName="Name13" presStyleLbl="parChTrans1D2" presStyleIdx="10" presStyleCnt="14"/>
      <dgm:spPr/>
      <dgm:t>
        <a:bodyPr/>
        <a:lstStyle/>
        <a:p>
          <a:endParaRPr lang="ru-RU"/>
        </a:p>
      </dgm:t>
    </dgm:pt>
    <dgm:pt modelId="{309DAF09-A180-4A9B-A9D2-28C1F5D496C3}" type="pres">
      <dgm:prSet presAssocID="{6C44FB3E-950B-4F56-B260-A92BED385A4B}" presName="childText" presStyleLbl="bgAcc1" presStyleIdx="10" presStyleCnt="14" custScaleX="78551" custScaleY="44411" custLinFactNeighborX="-1432" custLinFactNeighborY="-1777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EA0F45-32B7-4492-820B-99B8E56F4068}" type="pres">
      <dgm:prSet presAssocID="{36A87E53-C6F6-4EA7-8FB0-27B776FD7707}" presName="Name13" presStyleLbl="parChTrans1D2" presStyleIdx="11" presStyleCnt="14"/>
      <dgm:spPr/>
      <dgm:t>
        <a:bodyPr/>
        <a:lstStyle/>
        <a:p>
          <a:endParaRPr lang="ru-RU"/>
        </a:p>
      </dgm:t>
    </dgm:pt>
    <dgm:pt modelId="{CABF3A5E-89EF-4852-AC7D-5A15B5BDA424}" type="pres">
      <dgm:prSet presAssocID="{9D2D9A9B-D9A0-443D-B548-C73E02D886D0}" presName="childText" presStyleLbl="bgAcc1" presStyleIdx="11" presStyleCnt="14" custScaleX="77784" custScaleY="50166" custLinFactNeighborX="587" custLinFactNeighborY="-322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7B09330-FD59-42E1-A8C2-6AF788D25B45}" type="pres">
      <dgm:prSet presAssocID="{9EA3BF7B-22A5-4998-9A3A-D4740EF40ACB}" presName="Name13" presStyleLbl="parChTrans1D2" presStyleIdx="12" presStyleCnt="14"/>
      <dgm:spPr/>
      <dgm:t>
        <a:bodyPr/>
        <a:lstStyle/>
        <a:p>
          <a:endParaRPr lang="ru-RU"/>
        </a:p>
      </dgm:t>
    </dgm:pt>
    <dgm:pt modelId="{60A15B5A-1D01-4ADA-B24F-AAE9985F1B0D}" type="pres">
      <dgm:prSet presAssocID="{9B3CA06B-E39A-40E9-87F0-54B431D3BF3C}" presName="childText" presStyleLbl="bgAcc1" presStyleIdx="12" presStyleCnt="14" custScaleX="74954" custScaleY="41894" custLinFactNeighborX="4088" custLinFactNeighborY="-4858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F43AC20-01C0-4C9B-B632-6679C5FD075A}" type="pres">
      <dgm:prSet presAssocID="{2F8AF931-72A9-426E-97FD-C5CB6B379392}" presName="Name13" presStyleLbl="parChTrans1D2" presStyleIdx="13" presStyleCnt="14"/>
      <dgm:spPr/>
      <dgm:t>
        <a:bodyPr/>
        <a:lstStyle/>
        <a:p>
          <a:endParaRPr lang="ru-RU"/>
        </a:p>
      </dgm:t>
    </dgm:pt>
    <dgm:pt modelId="{69586BA5-20CE-46F6-88B6-D4716DDF2326}" type="pres">
      <dgm:prSet presAssocID="{EF886755-B01C-4E1E-9FE9-E9F37D00CDCB}" presName="childText" presStyleLbl="bgAcc1" presStyleIdx="13" presStyleCnt="14" custScaleX="64725" custScaleY="39952" custLinFactNeighborX="6023" custLinFactNeighborY="-6627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DEA8FF6-F6DB-4487-BB40-FA49E2F0ABA6}" type="presOf" srcId="{CEC5A080-8CDC-48FB-BE9D-64FA940C56DC}" destId="{F60AB4F6-A7C4-42D9-9617-E20783DBA9A3}" srcOrd="0" destOrd="0" presId="urn:microsoft.com/office/officeart/2005/8/layout/hierarchy3"/>
    <dgm:cxn modelId="{2F0D61A0-A474-4380-85F6-6DADA4762262}" srcId="{A5E1D8C0-715B-496B-A90A-E5B7B5A40DA2}" destId="{70D1F05A-66D9-40B9-B3DE-EFCA995FBDB3}" srcOrd="3" destOrd="0" parTransId="{3732DB30-3324-444C-B68B-FC1B0BB71B8C}" sibTransId="{1A09641E-288B-46B9-9B4A-27852A9DEBC5}"/>
    <dgm:cxn modelId="{BF2A4164-FC05-4E18-A7A4-25639BDD7350}" srcId="{70D1F05A-66D9-40B9-B3DE-EFCA995FBDB3}" destId="{EF676F32-85A1-4BCF-88A9-CB3CCE764A63}" srcOrd="1" destOrd="0" parTransId="{3F415FA2-89CC-40D4-BA3C-FC169705549F}" sibTransId="{1DB248B7-97E7-4628-B161-8CC6EDD24915}"/>
    <dgm:cxn modelId="{0CC6F795-8ED2-4039-B908-4523957BFFB4}" srcId="{280E700D-C295-4826-A61B-8CC0179B7987}" destId="{9B3CA06B-E39A-40E9-87F0-54B431D3BF3C}" srcOrd="2" destOrd="0" parTransId="{9EA3BF7B-22A5-4998-9A3A-D4740EF40ACB}" sibTransId="{FF01B47F-73E0-43CA-8791-D4C2D1E6BFF0}"/>
    <dgm:cxn modelId="{ABD4E488-5131-4D73-92F3-262833907FEA}" type="presOf" srcId="{EF886755-B01C-4E1E-9FE9-E9F37D00CDCB}" destId="{69586BA5-20CE-46F6-88B6-D4716DDF2326}" srcOrd="0" destOrd="0" presId="urn:microsoft.com/office/officeart/2005/8/layout/hierarchy3"/>
    <dgm:cxn modelId="{223588E6-4112-4202-BBA3-628E4DACA49B}" srcId="{2C3FA1E6-8EB7-4413-9693-3653F28E51AA}" destId="{2353B991-2CAE-4861-BE81-85ADF43A955B}" srcOrd="0" destOrd="0" parTransId="{EB76D7EF-BD79-4E37-9FEA-4A9B95FDE4F4}" sibTransId="{2AAE3F3D-D315-43FE-AB3F-57AA6379A493}"/>
    <dgm:cxn modelId="{31723391-3C0B-48D3-B5B3-AFA6E923C9B9}" type="presOf" srcId="{E0E64A79-4204-4233-9075-FE770A069DBC}" destId="{2C64871E-E575-44F3-8BD9-77963AD45C5C}" srcOrd="0" destOrd="0" presId="urn:microsoft.com/office/officeart/2005/8/layout/hierarchy3"/>
    <dgm:cxn modelId="{E99C1F40-F4BC-47A5-A0B8-9496415D234A}" type="presOf" srcId="{9B3CA06B-E39A-40E9-87F0-54B431D3BF3C}" destId="{60A15B5A-1D01-4ADA-B24F-AAE9985F1B0D}" srcOrd="0" destOrd="0" presId="urn:microsoft.com/office/officeart/2005/8/layout/hierarchy3"/>
    <dgm:cxn modelId="{AF86F84B-57CA-4C9B-91DF-487C09DAD409}" type="presOf" srcId="{70D1F05A-66D9-40B9-B3DE-EFCA995FBDB3}" destId="{439A44A9-B9B4-44E2-9715-9BE2CEABA29D}" srcOrd="1" destOrd="0" presId="urn:microsoft.com/office/officeart/2005/8/layout/hierarchy3"/>
    <dgm:cxn modelId="{6EF4D449-1E41-46CF-9443-50F29D42F783}" srcId="{70D1F05A-66D9-40B9-B3DE-EFCA995FBDB3}" destId="{E0E64A79-4204-4233-9075-FE770A069DBC}" srcOrd="0" destOrd="0" parTransId="{FF34F023-15CA-4DED-A8C3-26DA615D5FDB}" sibTransId="{BB3D750F-3CB2-4709-9C22-4F19A0F86FC5}"/>
    <dgm:cxn modelId="{6800E19F-CF55-49DD-B052-40549E608E5E}" type="presOf" srcId="{FD001A6C-205D-4B78-AF81-F7467EA69776}" destId="{7D2E3EDA-D0F0-427D-8534-13B02E41D096}" srcOrd="0" destOrd="0" presId="urn:microsoft.com/office/officeart/2005/8/layout/hierarchy3"/>
    <dgm:cxn modelId="{E2754D74-0E7D-4661-BAED-F95FDD847738}" type="presOf" srcId="{B36A9839-4FCB-408D-AE77-E3B5F5187B8E}" destId="{760AF380-EBCA-4E81-94C8-C69D6F028EB6}" srcOrd="0" destOrd="0" presId="urn:microsoft.com/office/officeart/2005/8/layout/hierarchy3"/>
    <dgm:cxn modelId="{327EBD53-25F1-4D8F-B65B-E949A314C184}" srcId="{A5E1D8C0-715B-496B-A90A-E5B7B5A40DA2}" destId="{40C2A163-3157-4881-81AB-1D79DFA8422D}" srcOrd="0" destOrd="0" parTransId="{77616961-FFFC-40DB-AC10-32D5D6410A6D}" sibTransId="{1979251F-6286-4BF9-903B-0EB4A55A3122}"/>
    <dgm:cxn modelId="{AA184C5B-415D-458D-8108-5FA4E86F60AB}" type="presOf" srcId="{2353B991-2CAE-4861-BE81-85ADF43A955B}" destId="{5C77451B-923F-4A26-B55E-FBA0CA38E36E}" srcOrd="0" destOrd="0" presId="urn:microsoft.com/office/officeart/2005/8/layout/hierarchy3"/>
    <dgm:cxn modelId="{C54B94CA-7E99-447C-98B6-0D31621A303C}" type="presOf" srcId="{36A87E53-C6F6-4EA7-8FB0-27B776FD7707}" destId="{E4EA0F45-32B7-4492-820B-99B8E56F4068}" srcOrd="0" destOrd="0" presId="urn:microsoft.com/office/officeart/2005/8/layout/hierarchy3"/>
    <dgm:cxn modelId="{3C2D0F72-F101-410F-A176-33C32DA2F290}" srcId="{280E700D-C295-4826-A61B-8CC0179B7987}" destId="{6C44FB3E-950B-4F56-B260-A92BED385A4B}" srcOrd="0" destOrd="0" parTransId="{CEC5A080-8CDC-48FB-BE9D-64FA940C56DC}" sibTransId="{869D8273-88A9-42D7-9226-A0CF5100C537}"/>
    <dgm:cxn modelId="{2DF3C2EA-196A-412B-AA27-0FB39C2E609F}" type="presOf" srcId="{F4411F8E-D201-4B99-BCB7-CB3B507D2BB5}" destId="{23A27AAA-ADCE-4C05-A7CC-0E3758F21B02}" srcOrd="0" destOrd="0" presId="urn:microsoft.com/office/officeart/2005/8/layout/hierarchy3"/>
    <dgm:cxn modelId="{42D9BF7A-98A6-4568-ABCE-E2164E7A3F71}" type="presOf" srcId="{280E700D-C295-4826-A61B-8CC0179B7987}" destId="{F59493D3-CE98-4ECA-B702-BF9FEAED713F}" srcOrd="1" destOrd="0" presId="urn:microsoft.com/office/officeart/2005/8/layout/hierarchy3"/>
    <dgm:cxn modelId="{E936BDA7-B6F1-493C-B931-991070180F50}" srcId="{A5E1D8C0-715B-496B-A90A-E5B7B5A40DA2}" destId="{2C3FA1E6-8EB7-4413-9693-3653F28E51AA}" srcOrd="2" destOrd="0" parTransId="{1745A9A9-6B9D-461D-BA90-7A8348975047}" sibTransId="{87406BFE-3FD5-4A95-8429-5E4F2A4E267F}"/>
    <dgm:cxn modelId="{0D6B415B-FCDC-4C73-9C2A-974D23F9F838}" type="presOf" srcId="{A5E1D8C0-715B-496B-A90A-E5B7B5A40DA2}" destId="{DA936274-6A8B-4B7A-9E9B-CB3A94DB73F3}" srcOrd="0" destOrd="0" presId="urn:microsoft.com/office/officeart/2005/8/layout/hierarchy3"/>
    <dgm:cxn modelId="{BD95059D-B756-4BF7-96EA-914A32B6F57F}" type="presOf" srcId="{70D1F05A-66D9-40B9-B3DE-EFCA995FBDB3}" destId="{121C190A-BC39-4287-9CB3-817FA7CC1EF3}" srcOrd="0" destOrd="0" presId="urn:microsoft.com/office/officeart/2005/8/layout/hierarchy3"/>
    <dgm:cxn modelId="{5C86B995-CB5D-4F05-A798-36E6F9352CD5}" type="presOf" srcId="{6CBC7EF4-80D5-4012-BEE0-5F65D75D1A11}" destId="{DD440C79-E070-4F67-BA85-FC12198D0809}" srcOrd="0" destOrd="0" presId="urn:microsoft.com/office/officeart/2005/8/layout/hierarchy3"/>
    <dgm:cxn modelId="{B4C2EFBF-DBF6-4DEE-96AA-248189E9B954}" type="presOf" srcId="{2F8AF931-72A9-426E-97FD-C5CB6B379392}" destId="{7F43AC20-01C0-4C9B-B632-6679C5FD075A}" srcOrd="0" destOrd="0" presId="urn:microsoft.com/office/officeart/2005/8/layout/hierarchy3"/>
    <dgm:cxn modelId="{F4904F1C-B208-4AE7-8CE7-7BC958ED39F2}" type="presOf" srcId="{40C2A163-3157-4881-81AB-1D79DFA8422D}" destId="{1082BBB6-5D70-43A7-9D7B-1ACA4451D83D}" srcOrd="1" destOrd="0" presId="urn:microsoft.com/office/officeart/2005/8/layout/hierarchy3"/>
    <dgm:cxn modelId="{2629FA18-1BDF-4589-A716-9511711F4CB8}" type="presOf" srcId="{F461E540-B50F-4072-B4E2-0CBD7A7FA488}" destId="{63C42A56-470A-4A3E-A467-66AD301AFFE8}" srcOrd="0" destOrd="0" presId="urn:microsoft.com/office/officeart/2005/8/layout/hierarchy3"/>
    <dgm:cxn modelId="{573FBDAD-565C-4CCC-A5EB-D97C928F1EA5}" type="presOf" srcId="{9BDE7454-5D68-4BEB-952D-796B430D1537}" destId="{8B35B43E-7EA3-4AC4-B2AC-4B609585CE9B}" srcOrd="0" destOrd="0" presId="urn:microsoft.com/office/officeart/2005/8/layout/hierarchy3"/>
    <dgm:cxn modelId="{34D72D91-330D-44DD-A25D-7FAE377AAC1A}" type="presOf" srcId="{2594BC48-5151-4E3B-BDBD-2DF4A2F41F49}" destId="{286E08A5-1D5B-4205-820D-0A8EE348FC54}" srcOrd="0" destOrd="0" presId="urn:microsoft.com/office/officeart/2005/8/layout/hierarchy3"/>
    <dgm:cxn modelId="{A65DE897-8021-47C1-85D9-00D99855E56E}" type="presOf" srcId="{BF39BEB8-A7D1-43D8-AE89-B503B6B83843}" destId="{E9D79DBB-39AD-4BE4-AEAE-015DED3D28FC}" srcOrd="0" destOrd="0" presId="urn:microsoft.com/office/officeart/2005/8/layout/hierarchy3"/>
    <dgm:cxn modelId="{020BC7A9-F63A-4F8E-89D1-05EEF420764A}" srcId="{40C2A163-3157-4881-81AB-1D79DFA8422D}" destId="{9BDE7454-5D68-4BEB-952D-796B430D1537}" srcOrd="0" destOrd="0" parTransId="{F4411F8E-D201-4B99-BCB7-CB3B507D2BB5}" sibTransId="{5E86E7A9-D06C-4F4F-9311-D789BD736647}"/>
    <dgm:cxn modelId="{742BAE53-9ABB-469F-8582-B6E847137D24}" type="presOf" srcId="{280E700D-C295-4826-A61B-8CC0179B7987}" destId="{782232DD-D04D-4C3A-B1D6-A80B50CBC6FE}" srcOrd="0" destOrd="0" presId="urn:microsoft.com/office/officeart/2005/8/layout/hierarchy3"/>
    <dgm:cxn modelId="{5BA3B878-DA97-4D7F-B6C0-9A9DAC83C79B}" type="presOf" srcId="{3F415FA2-89CC-40D4-BA3C-FC169705549F}" destId="{C62E453E-560F-4C23-A8E6-CCE0003481FB}" srcOrd="0" destOrd="0" presId="urn:microsoft.com/office/officeart/2005/8/layout/hierarchy3"/>
    <dgm:cxn modelId="{DAAA63B5-10A1-419F-AB47-64C68CE305F3}" type="presOf" srcId="{75098242-9F52-4A85-90D8-92DF42C81301}" destId="{18887B87-426B-4945-AA0B-DE5DF453292F}" srcOrd="1" destOrd="0" presId="urn:microsoft.com/office/officeart/2005/8/layout/hierarchy3"/>
    <dgm:cxn modelId="{45C5B7FA-1245-414B-A3A0-4FF4B4A7930C}" srcId="{A5E1D8C0-715B-496B-A90A-E5B7B5A40DA2}" destId="{280E700D-C295-4826-A61B-8CC0179B7987}" srcOrd="4" destOrd="0" parTransId="{17EC9E53-E891-4E06-BF51-2E86ADA480E6}" sibTransId="{F0AC4F25-2A66-4506-B85E-AE8F7070511C}"/>
    <dgm:cxn modelId="{D94FBEEA-8F1E-43D7-BC47-53A550209A87}" srcId="{40C2A163-3157-4881-81AB-1D79DFA8422D}" destId="{BF39BEB8-A7D1-43D8-AE89-B503B6B83843}" srcOrd="1" destOrd="0" parTransId="{D1659592-E0C0-4F48-8F24-B1891526C9EB}" sibTransId="{7157065A-715B-43C3-A19A-9CA185305077}"/>
    <dgm:cxn modelId="{ADEFB293-44DC-4305-B6FC-E3BF1B4C8722}" type="presOf" srcId="{9D2D9A9B-D9A0-443D-B548-C73E02D886D0}" destId="{CABF3A5E-89EF-4852-AC7D-5A15B5BDA424}" srcOrd="0" destOrd="0" presId="urn:microsoft.com/office/officeart/2005/8/layout/hierarchy3"/>
    <dgm:cxn modelId="{7F119A5F-CE14-44E2-AFC1-720C0274239B}" type="presOf" srcId="{75098242-9F52-4A85-90D8-92DF42C81301}" destId="{28EF2C37-B302-4212-8451-3138667F6DE0}" srcOrd="0" destOrd="0" presId="urn:microsoft.com/office/officeart/2005/8/layout/hierarchy3"/>
    <dgm:cxn modelId="{44F90BA1-9AE8-45F4-AFA1-BCCBBA23B7E3}" type="presOf" srcId="{EF676F32-85A1-4BCF-88A9-CB3CCE764A63}" destId="{E07918AA-A8D0-4813-8309-1EAEE1D73AD4}" srcOrd="0" destOrd="0" presId="urn:microsoft.com/office/officeart/2005/8/layout/hierarchy3"/>
    <dgm:cxn modelId="{129557A7-F3AD-48F8-A103-62088A11F4C6}" srcId="{75098242-9F52-4A85-90D8-92DF42C81301}" destId="{2594BC48-5151-4E3B-BDBD-2DF4A2F41F49}" srcOrd="1" destOrd="0" parTransId="{2B4E0F95-FC7C-451C-966A-51DE17639429}" sibTransId="{5BBEF977-DE40-4778-8D27-828C48784076}"/>
    <dgm:cxn modelId="{7D690295-A37D-4633-A8FF-2AB632B02151}" type="presOf" srcId="{FF34F023-15CA-4DED-A8C3-26DA615D5FDB}" destId="{DC2DAAB8-60F1-42C6-B570-219FC5DD2F74}" srcOrd="0" destOrd="0" presId="urn:microsoft.com/office/officeart/2005/8/layout/hierarchy3"/>
    <dgm:cxn modelId="{7F5C3DCE-0043-4AF0-A09E-1DE9DEEE286E}" srcId="{A5E1D8C0-715B-496B-A90A-E5B7B5A40DA2}" destId="{75098242-9F52-4A85-90D8-92DF42C81301}" srcOrd="1" destOrd="0" parTransId="{7FF1E96A-934E-4274-A077-340561F4D12D}" sibTransId="{539C4742-8DEF-49AF-B027-058EF223308E}"/>
    <dgm:cxn modelId="{C16B6395-DD7D-4DF3-BF97-2A7FAD46EBFE}" srcId="{75098242-9F52-4A85-90D8-92DF42C81301}" destId="{FD001A6C-205D-4B78-AF81-F7467EA69776}" srcOrd="0" destOrd="0" parTransId="{F461E540-B50F-4072-B4E2-0CBD7A7FA488}" sibTransId="{F88AEC46-95C9-4C18-ACF7-FE23B1651995}"/>
    <dgm:cxn modelId="{EA0D19FE-9A45-4300-8112-59D3C95B98E8}" srcId="{2C3FA1E6-8EB7-4413-9693-3653F28E51AA}" destId="{6CBC7EF4-80D5-4012-BEE0-5F65D75D1A11}" srcOrd="1" destOrd="0" parTransId="{334F24ED-865E-4381-AE95-2989385D9603}" sibTransId="{C8DCDA28-5F63-4DE4-B708-26CE8E97941F}"/>
    <dgm:cxn modelId="{8E6644EC-119A-4F31-B4A9-8810059B94DC}" type="presOf" srcId="{D1659592-E0C0-4F48-8F24-B1891526C9EB}" destId="{B8E1C1EF-2E40-4A17-BAEC-1614A8267C5E}" srcOrd="0" destOrd="0" presId="urn:microsoft.com/office/officeart/2005/8/layout/hierarchy3"/>
    <dgm:cxn modelId="{7737DC49-F038-4672-A17B-DA1E31212E43}" type="presOf" srcId="{40C2A163-3157-4881-81AB-1D79DFA8422D}" destId="{BD2F9FE7-A559-4ED7-8B1E-CDBB9EE4176B}" srcOrd="0" destOrd="0" presId="urn:microsoft.com/office/officeart/2005/8/layout/hierarchy3"/>
    <dgm:cxn modelId="{6BF06092-5E94-48DD-80E7-71171B9609E0}" srcId="{280E700D-C295-4826-A61B-8CC0179B7987}" destId="{9D2D9A9B-D9A0-443D-B548-C73E02D886D0}" srcOrd="1" destOrd="0" parTransId="{36A87E53-C6F6-4EA7-8FB0-27B776FD7707}" sibTransId="{F5A416B1-5B9B-4EB0-8788-CA3AD1343462}"/>
    <dgm:cxn modelId="{0E4845C8-51A7-4EA2-AD00-AC47AB11004F}" srcId="{75098242-9F52-4A85-90D8-92DF42C81301}" destId="{39CC808F-1AF0-40DF-A0BE-1D4E2C1D99CD}" srcOrd="2" destOrd="0" parTransId="{C943FDCB-3073-46AB-8832-FDF1B3C1E625}" sibTransId="{57DE1E67-AEBF-4542-AFD5-ED1494C003B2}"/>
    <dgm:cxn modelId="{27FE4226-E9F0-4B0E-9633-A2602425C972}" type="presOf" srcId="{334F24ED-865E-4381-AE95-2989385D9603}" destId="{6F79267B-7B1A-4BCF-97B2-32F0CD95522A}" srcOrd="0" destOrd="0" presId="urn:microsoft.com/office/officeart/2005/8/layout/hierarchy3"/>
    <dgm:cxn modelId="{98A63D71-0EE0-4069-A6DB-862C766A41BF}" type="presOf" srcId="{2C3FA1E6-8EB7-4413-9693-3653F28E51AA}" destId="{327DDFE5-703E-4C85-89F2-F1124F7EE77B}" srcOrd="1" destOrd="0" presId="urn:microsoft.com/office/officeart/2005/8/layout/hierarchy3"/>
    <dgm:cxn modelId="{E779E4CD-A0B1-4FCD-9E9D-35EB959C5E04}" srcId="{280E700D-C295-4826-A61B-8CC0179B7987}" destId="{EF886755-B01C-4E1E-9FE9-E9F37D00CDCB}" srcOrd="3" destOrd="0" parTransId="{2F8AF931-72A9-426E-97FD-C5CB6B379392}" sibTransId="{95408E5A-27F5-4C5A-8D44-02D1DC602569}"/>
    <dgm:cxn modelId="{9316E73D-7CDF-43B3-B364-025D73104EB7}" type="presOf" srcId="{CEC6D156-289E-41B8-8DB1-5AB558B40C61}" destId="{10CF430F-A0D2-4E76-AC3F-BAE875331B30}" srcOrd="0" destOrd="0" presId="urn:microsoft.com/office/officeart/2005/8/layout/hierarchy3"/>
    <dgm:cxn modelId="{FC6B7FEE-9464-45FF-8A0C-0265D83E0361}" srcId="{40C2A163-3157-4881-81AB-1D79DFA8422D}" destId="{B36A9839-4FCB-408D-AE77-E3B5F5187B8E}" srcOrd="2" destOrd="0" parTransId="{CEC6D156-289E-41B8-8DB1-5AB558B40C61}" sibTransId="{1082ECA0-8349-4D1A-ACAA-E305D8364566}"/>
    <dgm:cxn modelId="{CD48EB3B-07A2-4270-8332-48483121A78B}" type="presOf" srcId="{6C44FB3E-950B-4F56-B260-A92BED385A4B}" destId="{309DAF09-A180-4A9B-A9D2-28C1F5D496C3}" srcOrd="0" destOrd="0" presId="urn:microsoft.com/office/officeart/2005/8/layout/hierarchy3"/>
    <dgm:cxn modelId="{8206F8E8-50C9-4680-8D1C-D01E073B50BB}" type="presOf" srcId="{39CC808F-1AF0-40DF-A0BE-1D4E2C1D99CD}" destId="{99573FAB-C0B2-4583-947F-2E1069F7F48E}" srcOrd="0" destOrd="0" presId="urn:microsoft.com/office/officeart/2005/8/layout/hierarchy3"/>
    <dgm:cxn modelId="{215C0BA8-0262-4431-8A96-C97A4193BE9E}" type="presOf" srcId="{2C3FA1E6-8EB7-4413-9693-3653F28E51AA}" destId="{B59327FD-5821-4413-A7DE-1974379F56E0}" srcOrd="0" destOrd="0" presId="urn:microsoft.com/office/officeart/2005/8/layout/hierarchy3"/>
    <dgm:cxn modelId="{00D9E6AB-0E1B-46E2-8137-E606CD77AA9A}" type="presOf" srcId="{9EA3BF7B-22A5-4998-9A3A-D4740EF40ACB}" destId="{E7B09330-FD59-42E1-A8C2-6AF788D25B45}" srcOrd="0" destOrd="0" presId="urn:microsoft.com/office/officeart/2005/8/layout/hierarchy3"/>
    <dgm:cxn modelId="{5E3B6816-040B-4CEC-AA1D-3C317C4F114B}" type="presOf" srcId="{EB76D7EF-BD79-4E37-9FEA-4A9B95FDE4F4}" destId="{78C534AD-B01B-40AB-92F6-69DB7592B46A}" srcOrd="0" destOrd="0" presId="urn:microsoft.com/office/officeart/2005/8/layout/hierarchy3"/>
    <dgm:cxn modelId="{BD931E30-8B44-4FFE-B716-89FFE6F889FC}" type="presOf" srcId="{2B4E0F95-FC7C-451C-966A-51DE17639429}" destId="{433102E6-DED7-4A8E-BC41-159FE0CA5A77}" srcOrd="0" destOrd="0" presId="urn:microsoft.com/office/officeart/2005/8/layout/hierarchy3"/>
    <dgm:cxn modelId="{9522AFF6-33EC-4936-8BD8-9A58B3C2D220}" type="presOf" srcId="{C943FDCB-3073-46AB-8832-FDF1B3C1E625}" destId="{1359681A-E412-4A78-8BAE-12D3897A7F33}" srcOrd="0" destOrd="0" presId="urn:microsoft.com/office/officeart/2005/8/layout/hierarchy3"/>
    <dgm:cxn modelId="{893676C1-B698-4127-881B-6A90D8AFFD7C}" type="presParOf" srcId="{DA936274-6A8B-4B7A-9E9B-CB3A94DB73F3}" destId="{C238E0A8-D3DA-434E-BD65-37EEDE0549B9}" srcOrd="0" destOrd="0" presId="urn:microsoft.com/office/officeart/2005/8/layout/hierarchy3"/>
    <dgm:cxn modelId="{6D71FC6A-DA50-4C77-A41B-3D6FF274052B}" type="presParOf" srcId="{C238E0A8-D3DA-434E-BD65-37EEDE0549B9}" destId="{62F7DA56-3C12-40AD-B469-497BACEBA400}" srcOrd="0" destOrd="0" presId="urn:microsoft.com/office/officeart/2005/8/layout/hierarchy3"/>
    <dgm:cxn modelId="{FD76177F-8CD6-4F62-B928-8A083546DB45}" type="presParOf" srcId="{62F7DA56-3C12-40AD-B469-497BACEBA400}" destId="{BD2F9FE7-A559-4ED7-8B1E-CDBB9EE4176B}" srcOrd="0" destOrd="0" presId="urn:microsoft.com/office/officeart/2005/8/layout/hierarchy3"/>
    <dgm:cxn modelId="{FF8A5F11-AFC1-4BA1-AAF4-E1C4908A916A}" type="presParOf" srcId="{62F7DA56-3C12-40AD-B469-497BACEBA400}" destId="{1082BBB6-5D70-43A7-9D7B-1ACA4451D83D}" srcOrd="1" destOrd="0" presId="urn:microsoft.com/office/officeart/2005/8/layout/hierarchy3"/>
    <dgm:cxn modelId="{CC01F093-5618-48F5-8FFE-265A589DE79C}" type="presParOf" srcId="{C238E0A8-D3DA-434E-BD65-37EEDE0549B9}" destId="{4025A261-1F2B-4423-B613-EB2A67CB7CC8}" srcOrd="1" destOrd="0" presId="urn:microsoft.com/office/officeart/2005/8/layout/hierarchy3"/>
    <dgm:cxn modelId="{97411931-AC71-49A0-B380-979C2B45A175}" type="presParOf" srcId="{4025A261-1F2B-4423-B613-EB2A67CB7CC8}" destId="{23A27AAA-ADCE-4C05-A7CC-0E3758F21B02}" srcOrd="0" destOrd="0" presId="urn:microsoft.com/office/officeart/2005/8/layout/hierarchy3"/>
    <dgm:cxn modelId="{0B672063-2709-49A3-8729-FB792C22DFCA}" type="presParOf" srcId="{4025A261-1F2B-4423-B613-EB2A67CB7CC8}" destId="{8B35B43E-7EA3-4AC4-B2AC-4B609585CE9B}" srcOrd="1" destOrd="0" presId="urn:microsoft.com/office/officeart/2005/8/layout/hierarchy3"/>
    <dgm:cxn modelId="{86A99833-CECA-4E32-AD41-D30E83B3D140}" type="presParOf" srcId="{4025A261-1F2B-4423-B613-EB2A67CB7CC8}" destId="{B8E1C1EF-2E40-4A17-BAEC-1614A8267C5E}" srcOrd="2" destOrd="0" presId="urn:microsoft.com/office/officeart/2005/8/layout/hierarchy3"/>
    <dgm:cxn modelId="{23FF0470-1508-4A2F-94F7-374BE91AFF5E}" type="presParOf" srcId="{4025A261-1F2B-4423-B613-EB2A67CB7CC8}" destId="{E9D79DBB-39AD-4BE4-AEAE-015DED3D28FC}" srcOrd="3" destOrd="0" presId="urn:microsoft.com/office/officeart/2005/8/layout/hierarchy3"/>
    <dgm:cxn modelId="{04636651-1605-4699-B5B6-CEDFBBFAE488}" type="presParOf" srcId="{4025A261-1F2B-4423-B613-EB2A67CB7CC8}" destId="{10CF430F-A0D2-4E76-AC3F-BAE875331B30}" srcOrd="4" destOrd="0" presId="urn:microsoft.com/office/officeart/2005/8/layout/hierarchy3"/>
    <dgm:cxn modelId="{0663333A-99D0-4015-8465-3512CA0CD22A}" type="presParOf" srcId="{4025A261-1F2B-4423-B613-EB2A67CB7CC8}" destId="{760AF380-EBCA-4E81-94C8-C69D6F028EB6}" srcOrd="5" destOrd="0" presId="urn:microsoft.com/office/officeart/2005/8/layout/hierarchy3"/>
    <dgm:cxn modelId="{FE1EED01-FD3B-48FC-8FB5-9DAEAD124175}" type="presParOf" srcId="{DA936274-6A8B-4B7A-9E9B-CB3A94DB73F3}" destId="{55D5F746-C635-4ACD-B60E-F0F19C1675CE}" srcOrd="1" destOrd="0" presId="urn:microsoft.com/office/officeart/2005/8/layout/hierarchy3"/>
    <dgm:cxn modelId="{659D1E3C-F3F5-4E2F-AD1F-981B9A1D951A}" type="presParOf" srcId="{55D5F746-C635-4ACD-B60E-F0F19C1675CE}" destId="{F51E3954-4F9B-41BC-AAAB-3147CE5D5264}" srcOrd="0" destOrd="0" presId="urn:microsoft.com/office/officeart/2005/8/layout/hierarchy3"/>
    <dgm:cxn modelId="{CB6EE19A-B6D6-4C14-AFB4-7A7BA4A236E0}" type="presParOf" srcId="{F51E3954-4F9B-41BC-AAAB-3147CE5D5264}" destId="{28EF2C37-B302-4212-8451-3138667F6DE0}" srcOrd="0" destOrd="0" presId="urn:microsoft.com/office/officeart/2005/8/layout/hierarchy3"/>
    <dgm:cxn modelId="{44DFC2C4-046B-4B09-B981-DA13C64FC38C}" type="presParOf" srcId="{F51E3954-4F9B-41BC-AAAB-3147CE5D5264}" destId="{18887B87-426B-4945-AA0B-DE5DF453292F}" srcOrd="1" destOrd="0" presId="urn:microsoft.com/office/officeart/2005/8/layout/hierarchy3"/>
    <dgm:cxn modelId="{7EC22E33-A908-4B93-9CAB-F56DA84BB563}" type="presParOf" srcId="{55D5F746-C635-4ACD-B60E-F0F19C1675CE}" destId="{FBE270E7-3677-4597-84BF-9DE70D30A173}" srcOrd="1" destOrd="0" presId="urn:microsoft.com/office/officeart/2005/8/layout/hierarchy3"/>
    <dgm:cxn modelId="{EC7BD465-4DBF-4E6E-8897-6231BA6CA8E8}" type="presParOf" srcId="{FBE270E7-3677-4597-84BF-9DE70D30A173}" destId="{63C42A56-470A-4A3E-A467-66AD301AFFE8}" srcOrd="0" destOrd="0" presId="urn:microsoft.com/office/officeart/2005/8/layout/hierarchy3"/>
    <dgm:cxn modelId="{5D2D9FD0-CE22-4891-BBE9-9361DC8D2612}" type="presParOf" srcId="{FBE270E7-3677-4597-84BF-9DE70D30A173}" destId="{7D2E3EDA-D0F0-427D-8534-13B02E41D096}" srcOrd="1" destOrd="0" presId="urn:microsoft.com/office/officeart/2005/8/layout/hierarchy3"/>
    <dgm:cxn modelId="{71BC54CD-FACC-4307-86B5-DA1F45A23944}" type="presParOf" srcId="{FBE270E7-3677-4597-84BF-9DE70D30A173}" destId="{433102E6-DED7-4A8E-BC41-159FE0CA5A77}" srcOrd="2" destOrd="0" presId="urn:microsoft.com/office/officeart/2005/8/layout/hierarchy3"/>
    <dgm:cxn modelId="{76EF2A02-95A7-4365-A4E8-15A4693E556D}" type="presParOf" srcId="{FBE270E7-3677-4597-84BF-9DE70D30A173}" destId="{286E08A5-1D5B-4205-820D-0A8EE348FC54}" srcOrd="3" destOrd="0" presId="urn:microsoft.com/office/officeart/2005/8/layout/hierarchy3"/>
    <dgm:cxn modelId="{946AEF89-9076-4188-B86F-6CB82FB5F691}" type="presParOf" srcId="{FBE270E7-3677-4597-84BF-9DE70D30A173}" destId="{1359681A-E412-4A78-8BAE-12D3897A7F33}" srcOrd="4" destOrd="0" presId="urn:microsoft.com/office/officeart/2005/8/layout/hierarchy3"/>
    <dgm:cxn modelId="{3191D8F1-3432-4B05-9CF2-E707C3ECD712}" type="presParOf" srcId="{FBE270E7-3677-4597-84BF-9DE70D30A173}" destId="{99573FAB-C0B2-4583-947F-2E1069F7F48E}" srcOrd="5" destOrd="0" presId="urn:microsoft.com/office/officeart/2005/8/layout/hierarchy3"/>
    <dgm:cxn modelId="{50182FD3-950A-4B05-8DF0-0922D20A56CD}" type="presParOf" srcId="{DA936274-6A8B-4B7A-9E9B-CB3A94DB73F3}" destId="{A5699ED1-796E-488C-B701-A16487DAE302}" srcOrd="2" destOrd="0" presId="urn:microsoft.com/office/officeart/2005/8/layout/hierarchy3"/>
    <dgm:cxn modelId="{6AD73CE4-23ED-406A-B778-DC6FC90D01B0}" type="presParOf" srcId="{A5699ED1-796E-488C-B701-A16487DAE302}" destId="{A2E29655-B57B-473C-8900-9B7DA3331DD3}" srcOrd="0" destOrd="0" presId="urn:microsoft.com/office/officeart/2005/8/layout/hierarchy3"/>
    <dgm:cxn modelId="{0B187E95-01FF-432E-BC6B-DF7389B2BABB}" type="presParOf" srcId="{A2E29655-B57B-473C-8900-9B7DA3331DD3}" destId="{B59327FD-5821-4413-A7DE-1974379F56E0}" srcOrd="0" destOrd="0" presId="urn:microsoft.com/office/officeart/2005/8/layout/hierarchy3"/>
    <dgm:cxn modelId="{CECDCC4F-118D-4778-83BE-D21F1670D812}" type="presParOf" srcId="{A2E29655-B57B-473C-8900-9B7DA3331DD3}" destId="{327DDFE5-703E-4C85-89F2-F1124F7EE77B}" srcOrd="1" destOrd="0" presId="urn:microsoft.com/office/officeart/2005/8/layout/hierarchy3"/>
    <dgm:cxn modelId="{F3C94E5E-A401-407A-88FB-1394A82E1AFE}" type="presParOf" srcId="{A5699ED1-796E-488C-B701-A16487DAE302}" destId="{4FC7F87E-97A0-4A43-8611-B010794D522B}" srcOrd="1" destOrd="0" presId="urn:microsoft.com/office/officeart/2005/8/layout/hierarchy3"/>
    <dgm:cxn modelId="{FDC4BA79-E02F-4A62-8F9E-0AEFA5B3B699}" type="presParOf" srcId="{4FC7F87E-97A0-4A43-8611-B010794D522B}" destId="{78C534AD-B01B-40AB-92F6-69DB7592B46A}" srcOrd="0" destOrd="0" presId="urn:microsoft.com/office/officeart/2005/8/layout/hierarchy3"/>
    <dgm:cxn modelId="{43AC7614-5970-40D6-8069-BECC476D8354}" type="presParOf" srcId="{4FC7F87E-97A0-4A43-8611-B010794D522B}" destId="{5C77451B-923F-4A26-B55E-FBA0CA38E36E}" srcOrd="1" destOrd="0" presId="urn:microsoft.com/office/officeart/2005/8/layout/hierarchy3"/>
    <dgm:cxn modelId="{242A5C89-3F37-4112-96BA-95F3CC48FAF8}" type="presParOf" srcId="{4FC7F87E-97A0-4A43-8611-B010794D522B}" destId="{6F79267B-7B1A-4BCF-97B2-32F0CD95522A}" srcOrd="2" destOrd="0" presId="urn:microsoft.com/office/officeart/2005/8/layout/hierarchy3"/>
    <dgm:cxn modelId="{00766282-9A72-46A1-830E-E54A7A291653}" type="presParOf" srcId="{4FC7F87E-97A0-4A43-8611-B010794D522B}" destId="{DD440C79-E070-4F67-BA85-FC12198D0809}" srcOrd="3" destOrd="0" presId="urn:microsoft.com/office/officeart/2005/8/layout/hierarchy3"/>
    <dgm:cxn modelId="{91CB1CED-92D6-40A3-B870-15EE6D886BE1}" type="presParOf" srcId="{DA936274-6A8B-4B7A-9E9B-CB3A94DB73F3}" destId="{A50CE355-1516-4445-B1B5-7EF11A2EB96F}" srcOrd="3" destOrd="0" presId="urn:microsoft.com/office/officeart/2005/8/layout/hierarchy3"/>
    <dgm:cxn modelId="{93EF61B2-5075-421E-826A-F5E6BCD4811F}" type="presParOf" srcId="{A50CE355-1516-4445-B1B5-7EF11A2EB96F}" destId="{693894B0-EB28-405F-895F-E56D07C7F07B}" srcOrd="0" destOrd="0" presId="urn:microsoft.com/office/officeart/2005/8/layout/hierarchy3"/>
    <dgm:cxn modelId="{D9BD1AFA-6122-42AB-884C-189BBE524362}" type="presParOf" srcId="{693894B0-EB28-405F-895F-E56D07C7F07B}" destId="{121C190A-BC39-4287-9CB3-817FA7CC1EF3}" srcOrd="0" destOrd="0" presId="urn:microsoft.com/office/officeart/2005/8/layout/hierarchy3"/>
    <dgm:cxn modelId="{7D2404A9-C271-4727-9676-65DB3C4D3E81}" type="presParOf" srcId="{693894B0-EB28-405F-895F-E56D07C7F07B}" destId="{439A44A9-B9B4-44E2-9715-9BE2CEABA29D}" srcOrd="1" destOrd="0" presId="urn:microsoft.com/office/officeart/2005/8/layout/hierarchy3"/>
    <dgm:cxn modelId="{3CD74AEF-247B-4F89-BE16-B78EFC0DA753}" type="presParOf" srcId="{A50CE355-1516-4445-B1B5-7EF11A2EB96F}" destId="{FCB21573-C02F-451F-8434-8A66CAF5C511}" srcOrd="1" destOrd="0" presId="urn:microsoft.com/office/officeart/2005/8/layout/hierarchy3"/>
    <dgm:cxn modelId="{83D65C69-8452-42BE-A446-E2C9DD28D6D1}" type="presParOf" srcId="{FCB21573-C02F-451F-8434-8A66CAF5C511}" destId="{DC2DAAB8-60F1-42C6-B570-219FC5DD2F74}" srcOrd="0" destOrd="0" presId="urn:microsoft.com/office/officeart/2005/8/layout/hierarchy3"/>
    <dgm:cxn modelId="{7838CF98-1D0C-4031-9330-1A0F4B9D6DF4}" type="presParOf" srcId="{FCB21573-C02F-451F-8434-8A66CAF5C511}" destId="{2C64871E-E575-44F3-8BD9-77963AD45C5C}" srcOrd="1" destOrd="0" presId="urn:microsoft.com/office/officeart/2005/8/layout/hierarchy3"/>
    <dgm:cxn modelId="{5AD5A3E8-4F1E-4E62-8751-832205E956E7}" type="presParOf" srcId="{FCB21573-C02F-451F-8434-8A66CAF5C511}" destId="{C62E453E-560F-4C23-A8E6-CCE0003481FB}" srcOrd="2" destOrd="0" presId="urn:microsoft.com/office/officeart/2005/8/layout/hierarchy3"/>
    <dgm:cxn modelId="{B1D2A270-1BB6-40E8-8655-9B790F3E3028}" type="presParOf" srcId="{FCB21573-C02F-451F-8434-8A66CAF5C511}" destId="{E07918AA-A8D0-4813-8309-1EAEE1D73AD4}" srcOrd="3" destOrd="0" presId="urn:microsoft.com/office/officeart/2005/8/layout/hierarchy3"/>
    <dgm:cxn modelId="{BBCE5411-3F14-455C-962E-AABDBAF6B1E4}" type="presParOf" srcId="{DA936274-6A8B-4B7A-9E9B-CB3A94DB73F3}" destId="{B15C3B08-4A5E-4AFD-B52A-6FF38D7B47A8}" srcOrd="4" destOrd="0" presId="urn:microsoft.com/office/officeart/2005/8/layout/hierarchy3"/>
    <dgm:cxn modelId="{B3409F31-2163-4F51-9B85-29099FD4431B}" type="presParOf" srcId="{B15C3B08-4A5E-4AFD-B52A-6FF38D7B47A8}" destId="{FF4ABA77-3C5F-4E35-8E54-00208B3F399B}" srcOrd="0" destOrd="0" presId="urn:microsoft.com/office/officeart/2005/8/layout/hierarchy3"/>
    <dgm:cxn modelId="{92746452-11B8-4C1D-A0FF-52ABF093972F}" type="presParOf" srcId="{FF4ABA77-3C5F-4E35-8E54-00208B3F399B}" destId="{782232DD-D04D-4C3A-B1D6-A80B50CBC6FE}" srcOrd="0" destOrd="0" presId="urn:microsoft.com/office/officeart/2005/8/layout/hierarchy3"/>
    <dgm:cxn modelId="{E75013F9-372B-46F9-A17C-ED7888DB3504}" type="presParOf" srcId="{FF4ABA77-3C5F-4E35-8E54-00208B3F399B}" destId="{F59493D3-CE98-4ECA-B702-BF9FEAED713F}" srcOrd="1" destOrd="0" presId="urn:microsoft.com/office/officeart/2005/8/layout/hierarchy3"/>
    <dgm:cxn modelId="{67B4EDCB-3EBC-46C9-994F-EFD6A2F280A3}" type="presParOf" srcId="{B15C3B08-4A5E-4AFD-B52A-6FF38D7B47A8}" destId="{BC127F33-22F0-4F18-872E-E629365A465F}" srcOrd="1" destOrd="0" presId="urn:microsoft.com/office/officeart/2005/8/layout/hierarchy3"/>
    <dgm:cxn modelId="{91A02063-71D9-4F9E-BDD1-BC911A8BEF30}" type="presParOf" srcId="{BC127F33-22F0-4F18-872E-E629365A465F}" destId="{F60AB4F6-A7C4-42D9-9617-E20783DBA9A3}" srcOrd="0" destOrd="0" presId="urn:microsoft.com/office/officeart/2005/8/layout/hierarchy3"/>
    <dgm:cxn modelId="{0CCC4F33-3D9F-4BBA-8775-C694E4594C76}" type="presParOf" srcId="{BC127F33-22F0-4F18-872E-E629365A465F}" destId="{309DAF09-A180-4A9B-A9D2-28C1F5D496C3}" srcOrd="1" destOrd="0" presId="urn:microsoft.com/office/officeart/2005/8/layout/hierarchy3"/>
    <dgm:cxn modelId="{45B140F2-8972-4F1B-BBA6-AC8BC2B2C507}" type="presParOf" srcId="{BC127F33-22F0-4F18-872E-E629365A465F}" destId="{E4EA0F45-32B7-4492-820B-99B8E56F4068}" srcOrd="2" destOrd="0" presId="urn:microsoft.com/office/officeart/2005/8/layout/hierarchy3"/>
    <dgm:cxn modelId="{87D57DE2-DCBA-4320-839C-DC68627FE505}" type="presParOf" srcId="{BC127F33-22F0-4F18-872E-E629365A465F}" destId="{CABF3A5E-89EF-4852-AC7D-5A15B5BDA424}" srcOrd="3" destOrd="0" presId="urn:microsoft.com/office/officeart/2005/8/layout/hierarchy3"/>
    <dgm:cxn modelId="{1EA49550-EEF7-474B-B72F-F39B9153D942}" type="presParOf" srcId="{BC127F33-22F0-4F18-872E-E629365A465F}" destId="{E7B09330-FD59-42E1-A8C2-6AF788D25B45}" srcOrd="4" destOrd="0" presId="urn:microsoft.com/office/officeart/2005/8/layout/hierarchy3"/>
    <dgm:cxn modelId="{3887497F-63C3-4117-86BC-54C7BF15CDE6}" type="presParOf" srcId="{BC127F33-22F0-4F18-872E-E629365A465F}" destId="{60A15B5A-1D01-4ADA-B24F-AAE9985F1B0D}" srcOrd="5" destOrd="0" presId="urn:microsoft.com/office/officeart/2005/8/layout/hierarchy3"/>
    <dgm:cxn modelId="{2E1E9508-2D44-444D-880B-21EFC6B41083}" type="presParOf" srcId="{BC127F33-22F0-4F18-872E-E629365A465F}" destId="{7F43AC20-01C0-4C9B-B632-6679C5FD075A}" srcOrd="6" destOrd="0" presId="urn:microsoft.com/office/officeart/2005/8/layout/hierarchy3"/>
    <dgm:cxn modelId="{56C263AC-BEA7-4731-83A5-541E0D8898D9}" type="presParOf" srcId="{BC127F33-22F0-4F18-872E-E629365A465F}" destId="{69586BA5-20CE-46F6-88B6-D4716DDF2326}" srcOrd="7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1512258-4010-4862-BCAF-0AFF48AD8C2D}" type="doc">
      <dgm:prSet loTypeId="urn:microsoft.com/office/officeart/2005/8/layout/chevron1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35D2D640-E587-42A4-9595-DEB47819700C}">
      <dgm:prSet phldrT="[Текст]" custT="1"/>
      <dgm:spPr/>
      <dgm:t>
        <a:bodyPr/>
        <a:lstStyle/>
        <a:p>
          <a:r>
            <a:rPr lang="ru-RU" sz="1000" dirty="0" smtClean="0">
              <a:solidFill>
                <a:schemeClr val="tx1"/>
              </a:solidFill>
            </a:rPr>
            <a:t>10.2020</a:t>
          </a:r>
          <a:endParaRPr lang="ru-RU" sz="1000" dirty="0">
            <a:solidFill>
              <a:schemeClr val="tx1"/>
            </a:solidFill>
          </a:endParaRPr>
        </a:p>
      </dgm:t>
    </dgm:pt>
    <dgm:pt modelId="{0B98B869-46EC-4FA9-B482-44A69D9D6B69}" type="parTrans" cxnId="{2A91A810-FEA5-4F41-94C0-16766D345BE6}">
      <dgm:prSet/>
      <dgm:spPr/>
      <dgm:t>
        <a:bodyPr/>
        <a:lstStyle/>
        <a:p>
          <a:endParaRPr lang="ru-RU"/>
        </a:p>
      </dgm:t>
    </dgm:pt>
    <dgm:pt modelId="{411CC8C0-3D91-4802-8004-F23283EC63F5}" type="sibTrans" cxnId="{2A91A810-FEA5-4F41-94C0-16766D345BE6}">
      <dgm:prSet/>
      <dgm:spPr/>
      <dgm:t>
        <a:bodyPr/>
        <a:lstStyle/>
        <a:p>
          <a:endParaRPr lang="ru-RU"/>
        </a:p>
      </dgm:t>
    </dgm:pt>
    <dgm:pt modelId="{67E5612C-92A2-465D-AAB9-CD924956601E}">
      <dgm:prSet phldrT="[Текст]" custT="1"/>
      <dgm:spPr/>
      <dgm:t>
        <a:bodyPr/>
        <a:lstStyle/>
        <a:p>
          <a:r>
            <a:rPr lang="ru-RU" sz="1000" dirty="0" smtClean="0">
              <a:solidFill>
                <a:schemeClr val="tx1"/>
              </a:solidFill>
            </a:rPr>
            <a:t>11.2020</a:t>
          </a:r>
          <a:endParaRPr lang="ru-RU" sz="1000" dirty="0">
            <a:solidFill>
              <a:schemeClr val="tx1"/>
            </a:solidFill>
          </a:endParaRPr>
        </a:p>
      </dgm:t>
    </dgm:pt>
    <dgm:pt modelId="{E0E5651C-B40B-40F8-9945-FAD3EC0B9F81}" type="parTrans" cxnId="{6BEB59D0-E6B6-4594-8402-AFEB57CE966D}">
      <dgm:prSet/>
      <dgm:spPr/>
      <dgm:t>
        <a:bodyPr/>
        <a:lstStyle/>
        <a:p>
          <a:endParaRPr lang="ru-RU"/>
        </a:p>
      </dgm:t>
    </dgm:pt>
    <dgm:pt modelId="{9B8D99B0-FC30-4882-855D-DDA24423007F}" type="sibTrans" cxnId="{6BEB59D0-E6B6-4594-8402-AFEB57CE966D}">
      <dgm:prSet/>
      <dgm:spPr/>
      <dgm:t>
        <a:bodyPr/>
        <a:lstStyle/>
        <a:p>
          <a:endParaRPr lang="ru-RU"/>
        </a:p>
      </dgm:t>
    </dgm:pt>
    <dgm:pt modelId="{3A6A2CAE-5C11-4CE6-9794-35EACE70B231}">
      <dgm:prSet phldrT="[Текст]"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12.2020</a:t>
          </a:r>
          <a:endParaRPr lang="ru-RU" dirty="0">
            <a:solidFill>
              <a:schemeClr val="tx1"/>
            </a:solidFill>
          </a:endParaRPr>
        </a:p>
      </dgm:t>
    </dgm:pt>
    <dgm:pt modelId="{8E56D2F0-00ED-478C-B368-33533546EBB1}" type="parTrans" cxnId="{5127947A-D0B4-4D52-8B95-31D5CAE492E9}">
      <dgm:prSet/>
      <dgm:spPr/>
      <dgm:t>
        <a:bodyPr/>
        <a:lstStyle/>
        <a:p>
          <a:endParaRPr lang="ru-RU"/>
        </a:p>
      </dgm:t>
    </dgm:pt>
    <dgm:pt modelId="{0720A0B1-43E2-42DB-9CDA-B80F27DF8ABD}" type="sibTrans" cxnId="{5127947A-D0B4-4D52-8B95-31D5CAE492E9}">
      <dgm:prSet/>
      <dgm:spPr/>
      <dgm:t>
        <a:bodyPr/>
        <a:lstStyle/>
        <a:p>
          <a:endParaRPr lang="ru-RU"/>
        </a:p>
      </dgm:t>
    </dgm:pt>
    <dgm:pt modelId="{483C8FE5-2365-4314-8BF4-3FB3A53902FE}">
      <dgm:prSet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01.2021</a:t>
          </a:r>
          <a:endParaRPr lang="ru-RU" dirty="0">
            <a:solidFill>
              <a:schemeClr val="tx1"/>
            </a:solidFill>
          </a:endParaRPr>
        </a:p>
      </dgm:t>
    </dgm:pt>
    <dgm:pt modelId="{62AD7E4E-8748-4D03-A83F-8F1D231919FB}" type="parTrans" cxnId="{31B3BE43-1F54-447D-9A41-C8BC58261FBA}">
      <dgm:prSet/>
      <dgm:spPr/>
      <dgm:t>
        <a:bodyPr/>
        <a:lstStyle/>
        <a:p>
          <a:endParaRPr lang="ru-RU"/>
        </a:p>
      </dgm:t>
    </dgm:pt>
    <dgm:pt modelId="{9179D8A2-2BFF-4434-9869-942BE4C2988E}" type="sibTrans" cxnId="{31B3BE43-1F54-447D-9A41-C8BC58261FBA}">
      <dgm:prSet/>
      <dgm:spPr/>
      <dgm:t>
        <a:bodyPr/>
        <a:lstStyle/>
        <a:p>
          <a:endParaRPr lang="ru-RU"/>
        </a:p>
      </dgm:t>
    </dgm:pt>
    <dgm:pt modelId="{934ABA3A-D9EC-4697-892F-BBEE8A45294F}">
      <dgm:prSet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02.2021</a:t>
          </a:r>
          <a:endParaRPr lang="ru-RU" dirty="0">
            <a:solidFill>
              <a:schemeClr val="tx1"/>
            </a:solidFill>
          </a:endParaRPr>
        </a:p>
      </dgm:t>
    </dgm:pt>
    <dgm:pt modelId="{6155CBAD-9F37-4979-B3D4-C90797ACFF76}" type="parTrans" cxnId="{DD275301-3FB7-47CB-9831-9B7E64D9E9D5}">
      <dgm:prSet/>
      <dgm:spPr/>
      <dgm:t>
        <a:bodyPr/>
        <a:lstStyle/>
        <a:p>
          <a:endParaRPr lang="ru-RU"/>
        </a:p>
      </dgm:t>
    </dgm:pt>
    <dgm:pt modelId="{BC3372C4-639C-4E17-84B9-153070FB3075}" type="sibTrans" cxnId="{DD275301-3FB7-47CB-9831-9B7E64D9E9D5}">
      <dgm:prSet/>
      <dgm:spPr/>
      <dgm:t>
        <a:bodyPr/>
        <a:lstStyle/>
        <a:p>
          <a:endParaRPr lang="ru-RU"/>
        </a:p>
      </dgm:t>
    </dgm:pt>
    <dgm:pt modelId="{C36225A0-42D9-4091-B8BD-8FB036C24641}">
      <dgm:prSet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03.2021</a:t>
          </a:r>
          <a:endParaRPr lang="ru-RU" dirty="0">
            <a:solidFill>
              <a:schemeClr val="tx1"/>
            </a:solidFill>
          </a:endParaRPr>
        </a:p>
      </dgm:t>
    </dgm:pt>
    <dgm:pt modelId="{DA0991B3-D7BE-4421-94E0-2E03823702AA}" type="parTrans" cxnId="{D7A0DCE4-FFC1-4FEC-A306-B395EA4CD058}">
      <dgm:prSet/>
      <dgm:spPr/>
      <dgm:t>
        <a:bodyPr/>
        <a:lstStyle/>
        <a:p>
          <a:endParaRPr lang="ru-RU"/>
        </a:p>
      </dgm:t>
    </dgm:pt>
    <dgm:pt modelId="{37909E2F-8E48-4E86-A83F-7DEBC0F30C60}" type="sibTrans" cxnId="{D7A0DCE4-FFC1-4FEC-A306-B395EA4CD058}">
      <dgm:prSet/>
      <dgm:spPr/>
      <dgm:t>
        <a:bodyPr/>
        <a:lstStyle/>
        <a:p>
          <a:endParaRPr lang="ru-RU"/>
        </a:p>
      </dgm:t>
    </dgm:pt>
    <dgm:pt modelId="{A2A1A3CC-4580-4531-962B-31C0C9FDBFF3}">
      <dgm:prSet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04.2021</a:t>
          </a:r>
          <a:endParaRPr lang="ru-RU" dirty="0">
            <a:solidFill>
              <a:schemeClr val="tx1"/>
            </a:solidFill>
          </a:endParaRPr>
        </a:p>
      </dgm:t>
    </dgm:pt>
    <dgm:pt modelId="{AE95FDD4-A068-4030-8173-A8B88F80AB41}" type="parTrans" cxnId="{FF7D74DA-39C9-4668-BED1-DC84F10B9C61}">
      <dgm:prSet/>
      <dgm:spPr/>
      <dgm:t>
        <a:bodyPr/>
        <a:lstStyle/>
        <a:p>
          <a:endParaRPr lang="ru-RU"/>
        </a:p>
      </dgm:t>
    </dgm:pt>
    <dgm:pt modelId="{B482DC9C-9DA9-42A2-A16D-6E00B5B9A0FA}" type="sibTrans" cxnId="{FF7D74DA-39C9-4668-BED1-DC84F10B9C61}">
      <dgm:prSet/>
      <dgm:spPr/>
      <dgm:t>
        <a:bodyPr/>
        <a:lstStyle/>
        <a:p>
          <a:endParaRPr lang="ru-RU"/>
        </a:p>
      </dgm:t>
    </dgm:pt>
    <dgm:pt modelId="{F50FA3FF-4014-49F0-BF7D-3F4AD14B1A4F}">
      <dgm:prSet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05.2021</a:t>
          </a:r>
          <a:endParaRPr lang="ru-RU" dirty="0">
            <a:solidFill>
              <a:schemeClr val="tx1"/>
            </a:solidFill>
          </a:endParaRPr>
        </a:p>
      </dgm:t>
    </dgm:pt>
    <dgm:pt modelId="{8132B515-AF35-431D-9C49-EB29ABDF31EA}" type="parTrans" cxnId="{B304C588-E6BF-4E81-BEE6-3FD4744B9145}">
      <dgm:prSet/>
      <dgm:spPr/>
      <dgm:t>
        <a:bodyPr/>
        <a:lstStyle/>
        <a:p>
          <a:endParaRPr lang="ru-RU"/>
        </a:p>
      </dgm:t>
    </dgm:pt>
    <dgm:pt modelId="{01C57E8F-038C-4078-A5B7-63716B7B8297}" type="sibTrans" cxnId="{B304C588-E6BF-4E81-BEE6-3FD4744B9145}">
      <dgm:prSet/>
      <dgm:spPr/>
      <dgm:t>
        <a:bodyPr/>
        <a:lstStyle/>
        <a:p>
          <a:endParaRPr lang="ru-RU"/>
        </a:p>
      </dgm:t>
    </dgm:pt>
    <dgm:pt modelId="{CA545C54-DAE9-4B2D-80F5-B6CDB4F98432}">
      <dgm:prSet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06.2021</a:t>
          </a:r>
          <a:endParaRPr lang="ru-RU" dirty="0">
            <a:solidFill>
              <a:schemeClr val="tx1"/>
            </a:solidFill>
          </a:endParaRPr>
        </a:p>
      </dgm:t>
    </dgm:pt>
    <dgm:pt modelId="{E840565A-BBC8-4CF7-9FAF-52DC4B0B22AB}" type="parTrans" cxnId="{F1EEE7C4-0573-4A09-A15E-5D47C2E258F3}">
      <dgm:prSet/>
      <dgm:spPr/>
      <dgm:t>
        <a:bodyPr/>
        <a:lstStyle/>
        <a:p>
          <a:endParaRPr lang="ru-RU"/>
        </a:p>
      </dgm:t>
    </dgm:pt>
    <dgm:pt modelId="{716ABF16-E2E5-4C56-9207-58D1511D4BAA}" type="sibTrans" cxnId="{F1EEE7C4-0573-4A09-A15E-5D47C2E258F3}">
      <dgm:prSet/>
      <dgm:spPr/>
      <dgm:t>
        <a:bodyPr/>
        <a:lstStyle/>
        <a:p>
          <a:endParaRPr lang="ru-RU"/>
        </a:p>
      </dgm:t>
    </dgm:pt>
    <dgm:pt modelId="{A5397106-FF09-422B-B2D7-ABC665B55FC2}">
      <dgm:prSet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07.2021</a:t>
          </a:r>
          <a:endParaRPr lang="ru-RU" dirty="0">
            <a:solidFill>
              <a:schemeClr val="tx1"/>
            </a:solidFill>
          </a:endParaRPr>
        </a:p>
      </dgm:t>
    </dgm:pt>
    <dgm:pt modelId="{24B4AD5E-D718-4FF4-AC88-7E60540F1AC4}" type="parTrans" cxnId="{F7290463-A240-4764-9E29-54A18F13E965}">
      <dgm:prSet/>
      <dgm:spPr/>
      <dgm:t>
        <a:bodyPr/>
        <a:lstStyle/>
        <a:p>
          <a:endParaRPr lang="ru-RU"/>
        </a:p>
      </dgm:t>
    </dgm:pt>
    <dgm:pt modelId="{EE328860-BCA4-4F76-8AF4-AEF3994E105C}" type="sibTrans" cxnId="{F7290463-A240-4764-9E29-54A18F13E965}">
      <dgm:prSet/>
      <dgm:spPr/>
      <dgm:t>
        <a:bodyPr/>
        <a:lstStyle/>
        <a:p>
          <a:endParaRPr lang="ru-RU"/>
        </a:p>
      </dgm:t>
    </dgm:pt>
    <dgm:pt modelId="{2B8BAF77-30A4-414C-A949-2DF18BC9E18A}">
      <dgm:prSet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08.2021</a:t>
          </a:r>
          <a:endParaRPr lang="ru-RU" dirty="0">
            <a:solidFill>
              <a:schemeClr val="tx1"/>
            </a:solidFill>
          </a:endParaRPr>
        </a:p>
      </dgm:t>
    </dgm:pt>
    <dgm:pt modelId="{FCBDB82D-ED30-41C3-9A14-2A890E5B1C8C}" type="parTrans" cxnId="{58E0C3E4-9356-47F2-9A57-B5429BC3B793}">
      <dgm:prSet/>
      <dgm:spPr/>
      <dgm:t>
        <a:bodyPr/>
        <a:lstStyle/>
        <a:p>
          <a:endParaRPr lang="ru-RU"/>
        </a:p>
      </dgm:t>
    </dgm:pt>
    <dgm:pt modelId="{BA702B5A-19EC-4527-80E0-2C29E6C5DBC5}" type="sibTrans" cxnId="{58E0C3E4-9356-47F2-9A57-B5429BC3B793}">
      <dgm:prSet/>
      <dgm:spPr/>
      <dgm:t>
        <a:bodyPr/>
        <a:lstStyle/>
        <a:p>
          <a:endParaRPr lang="ru-RU"/>
        </a:p>
      </dgm:t>
    </dgm:pt>
    <dgm:pt modelId="{E3C9911D-1037-4FF6-8BFC-D1A2DE57138C}">
      <dgm:prSet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09.2021</a:t>
          </a:r>
          <a:endParaRPr lang="ru-RU" dirty="0">
            <a:solidFill>
              <a:schemeClr val="tx1"/>
            </a:solidFill>
          </a:endParaRPr>
        </a:p>
      </dgm:t>
    </dgm:pt>
    <dgm:pt modelId="{C79F2AA3-5EE9-4925-AB9C-ADBE2A655A10}" type="parTrans" cxnId="{A484CCD2-45B3-4E9D-81EE-45C531399A05}">
      <dgm:prSet/>
      <dgm:spPr/>
      <dgm:t>
        <a:bodyPr/>
        <a:lstStyle/>
        <a:p>
          <a:endParaRPr lang="ru-RU"/>
        </a:p>
      </dgm:t>
    </dgm:pt>
    <dgm:pt modelId="{F60B17AC-B0E2-43AC-8992-0AE01E0C75C1}" type="sibTrans" cxnId="{A484CCD2-45B3-4E9D-81EE-45C531399A05}">
      <dgm:prSet/>
      <dgm:spPr/>
      <dgm:t>
        <a:bodyPr/>
        <a:lstStyle/>
        <a:p>
          <a:endParaRPr lang="ru-RU"/>
        </a:p>
      </dgm:t>
    </dgm:pt>
    <dgm:pt modelId="{9FEBDBA4-1961-467C-8EC4-B4F8C5777F17}">
      <dgm:prSet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12.2021</a:t>
          </a:r>
          <a:endParaRPr lang="ru-RU" dirty="0">
            <a:solidFill>
              <a:schemeClr val="tx1"/>
            </a:solidFill>
          </a:endParaRPr>
        </a:p>
      </dgm:t>
    </dgm:pt>
    <dgm:pt modelId="{217D4E9D-841A-40F1-962B-3FB563CEA0C1}" type="parTrans" cxnId="{2E9360DF-1063-496E-B33D-76F5EF7C1590}">
      <dgm:prSet/>
      <dgm:spPr/>
      <dgm:t>
        <a:bodyPr/>
        <a:lstStyle/>
        <a:p>
          <a:endParaRPr lang="ru-RU"/>
        </a:p>
      </dgm:t>
    </dgm:pt>
    <dgm:pt modelId="{A3D60B32-A7D8-4EE6-9CE4-54FE4BBFC9F0}" type="sibTrans" cxnId="{2E9360DF-1063-496E-B33D-76F5EF7C1590}">
      <dgm:prSet/>
      <dgm:spPr/>
      <dgm:t>
        <a:bodyPr/>
        <a:lstStyle/>
        <a:p>
          <a:endParaRPr lang="ru-RU"/>
        </a:p>
      </dgm:t>
    </dgm:pt>
    <dgm:pt modelId="{A83E2E44-5733-4F14-AC04-A8280998AB9E}">
      <dgm:prSet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10.2021</a:t>
          </a:r>
          <a:endParaRPr lang="ru-RU" dirty="0">
            <a:solidFill>
              <a:schemeClr val="tx1"/>
            </a:solidFill>
          </a:endParaRPr>
        </a:p>
      </dgm:t>
    </dgm:pt>
    <dgm:pt modelId="{DDF18870-1A3B-4F84-8B60-030702BFD606}" type="parTrans" cxnId="{C4EC4A50-0EDE-4D9F-90EE-BB60EE988C37}">
      <dgm:prSet/>
      <dgm:spPr/>
      <dgm:t>
        <a:bodyPr/>
        <a:lstStyle/>
        <a:p>
          <a:endParaRPr lang="ru-RU"/>
        </a:p>
      </dgm:t>
    </dgm:pt>
    <dgm:pt modelId="{851325E2-63DD-48A0-920D-0BA65329304F}" type="sibTrans" cxnId="{C4EC4A50-0EDE-4D9F-90EE-BB60EE988C37}">
      <dgm:prSet/>
      <dgm:spPr/>
      <dgm:t>
        <a:bodyPr/>
        <a:lstStyle/>
        <a:p>
          <a:endParaRPr lang="ru-RU"/>
        </a:p>
      </dgm:t>
    </dgm:pt>
    <dgm:pt modelId="{3DA7759F-2DE6-400F-8A0A-128A7EBCC91B}">
      <dgm:prSet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11.2021</a:t>
          </a:r>
          <a:endParaRPr lang="ru-RU" dirty="0">
            <a:solidFill>
              <a:schemeClr val="tx1"/>
            </a:solidFill>
          </a:endParaRPr>
        </a:p>
      </dgm:t>
    </dgm:pt>
    <dgm:pt modelId="{72CD6273-5659-4F62-B178-1C845FC853F0}" type="parTrans" cxnId="{4AA714FD-D2DA-44BF-883C-368F0B6E59E3}">
      <dgm:prSet/>
      <dgm:spPr/>
      <dgm:t>
        <a:bodyPr/>
        <a:lstStyle/>
        <a:p>
          <a:endParaRPr lang="ru-RU"/>
        </a:p>
      </dgm:t>
    </dgm:pt>
    <dgm:pt modelId="{C9AB6A8E-1C9B-4F96-9A42-6B04393D69E3}" type="sibTrans" cxnId="{4AA714FD-D2DA-44BF-883C-368F0B6E59E3}">
      <dgm:prSet/>
      <dgm:spPr/>
      <dgm:t>
        <a:bodyPr/>
        <a:lstStyle/>
        <a:p>
          <a:endParaRPr lang="ru-RU"/>
        </a:p>
      </dgm:t>
    </dgm:pt>
    <dgm:pt modelId="{DF693EFF-19CF-4551-AB0D-C7491D57C3CF}" type="pres">
      <dgm:prSet presAssocID="{51512258-4010-4862-BCAF-0AFF48AD8C2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8D410C3-DFE8-403F-8658-F790C795DE62}" type="pres">
      <dgm:prSet presAssocID="{35D2D640-E587-42A4-9595-DEB47819700C}" presName="parTxOnly" presStyleLbl="node1" presStyleIdx="0" presStyleCnt="15" custScaleX="11070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7B53D45-39FE-4721-A232-D51899D19F15}" type="pres">
      <dgm:prSet presAssocID="{411CC8C0-3D91-4802-8004-F23283EC63F5}" presName="parTxOnlySpace" presStyleCnt="0"/>
      <dgm:spPr/>
    </dgm:pt>
    <dgm:pt modelId="{42DA0ACA-0711-41CD-9575-C7C335211645}" type="pres">
      <dgm:prSet presAssocID="{67E5612C-92A2-465D-AAB9-CD924956601E}" presName="parTxOnly" presStyleLbl="node1" presStyleIdx="1" presStyleCnt="15" custScaleX="12101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090E9C-09D5-40E2-8F1E-B54759157303}" type="pres">
      <dgm:prSet presAssocID="{9B8D99B0-FC30-4882-855D-DDA24423007F}" presName="parTxOnlySpace" presStyleCnt="0"/>
      <dgm:spPr/>
    </dgm:pt>
    <dgm:pt modelId="{FB6070FF-47D4-4DCA-BC24-93EC5EBFBD0A}" type="pres">
      <dgm:prSet presAssocID="{3A6A2CAE-5C11-4CE6-9794-35EACE70B231}" presName="parTxOnly" presStyleLbl="node1" presStyleIdx="2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77BF1C0-E8D5-47B8-A801-9B88BE7F11FA}" type="pres">
      <dgm:prSet presAssocID="{0720A0B1-43E2-42DB-9CDA-B80F27DF8ABD}" presName="parTxOnlySpace" presStyleCnt="0"/>
      <dgm:spPr/>
    </dgm:pt>
    <dgm:pt modelId="{09799274-3A1B-4777-BB61-2A79CBF90307}" type="pres">
      <dgm:prSet presAssocID="{483C8FE5-2365-4314-8BF4-3FB3A53902FE}" presName="parTxOnly" presStyleLbl="node1" presStyleIdx="3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2BEADF3-9859-45BA-97D9-6B5F270E40F5}" type="pres">
      <dgm:prSet presAssocID="{9179D8A2-2BFF-4434-9869-942BE4C2988E}" presName="parTxOnlySpace" presStyleCnt="0"/>
      <dgm:spPr/>
    </dgm:pt>
    <dgm:pt modelId="{C5EE5834-10AC-4A9C-B2E1-FCA360F4F05C}" type="pres">
      <dgm:prSet presAssocID="{934ABA3A-D9EC-4697-892F-BBEE8A45294F}" presName="parTxOnly" presStyleLbl="node1" presStyleIdx="4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339698E-3452-4235-9C67-269474DFA604}" type="pres">
      <dgm:prSet presAssocID="{BC3372C4-639C-4E17-84B9-153070FB3075}" presName="parTxOnlySpace" presStyleCnt="0"/>
      <dgm:spPr/>
    </dgm:pt>
    <dgm:pt modelId="{A6F217FA-D19C-43E3-97CB-7A7E36625BA4}" type="pres">
      <dgm:prSet presAssocID="{C36225A0-42D9-4091-B8BD-8FB036C24641}" presName="parTxOnly" presStyleLbl="node1" presStyleIdx="5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852499E-4C18-4D8B-8503-441A601F0EFF}" type="pres">
      <dgm:prSet presAssocID="{37909E2F-8E48-4E86-A83F-7DEBC0F30C60}" presName="parTxOnlySpace" presStyleCnt="0"/>
      <dgm:spPr/>
    </dgm:pt>
    <dgm:pt modelId="{C53A5E80-B21D-4297-A0FD-6CCFC1C1F5B6}" type="pres">
      <dgm:prSet presAssocID="{A2A1A3CC-4580-4531-962B-31C0C9FDBFF3}" presName="parTxOnly" presStyleLbl="node1" presStyleIdx="6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BBA81D-F736-4E44-9D4A-4A9A21DC8D1C}" type="pres">
      <dgm:prSet presAssocID="{B482DC9C-9DA9-42A2-A16D-6E00B5B9A0FA}" presName="parTxOnlySpace" presStyleCnt="0"/>
      <dgm:spPr/>
    </dgm:pt>
    <dgm:pt modelId="{7D114638-BEA6-47FE-8512-8F7EDAF9D2F1}" type="pres">
      <dgm:prSet presAssocID="{F50FA3FF-4014-49F0-BF7D-3F4AD14B1A4F}" presName="parTxOnly" presStyleLbl="node1" presStyleIdx="7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211BA1-BF85-43AC-A4A1-0F3B7332EC52}" type="pres">
      <dgm:prSet presAssocID="{01C57E8F-038C-4078-A5B7-63716B7B8297}" presName="parTxOnlySpace" presStyleCnt="0"/>
      <dgm:spPr/>
    </dgm:pt>
    <dgm:pt modelId="{0347E9C4-9047-4161-9C7F-977039714E41}" type="pres">
      <dgm:prSet presAssocID="{CA545C54-DAE9-4B2D-80F5-B6CDB4F98432}" presName="parTxOnly" presStyleLbl="node1" presStyleIdx="8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FAE1A64-97D9-42E0-AC97-3FBD47342FE7}" type="pres">
      <dgm:prSet presAssocID="{716ABF16-E2E5-4C56-9207-58D1511D4BAA}" presName="parTxOnlySpace" presStyleCnt="0"/>
      <dgm:spPr/>
    </dgm:pt>
    <dgm:pt modelId="{4D4352FE-709E-4549-9FB4-4B4BC01D4969}" type="pres">
      <dgm:prSet presAssocID="{A5397106-FF09-422B-B2D7-ABC665B55FC2}" presName="parTxOnly" presStyleLbl="node1" presStyleIdx="9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AD0465F-1D58-4069-BB20-A1252D660E06}" type="pres">
      <dgm:prSet presAssocID="{EE328860-BCA4-4F76-8AF4-AEF3994E105C}" presName="parTxOnlySpace" presStyleCnt="0"/>
      <dgm:spPr/>
    </dgm:pt>
    <dgm:pt modelId="{5112891F-5568-477B-870A-5104839D1408}" type="pres">
      <dgm:prSet presAssocID="{2B8BAF77-30A4-414C-A949-2DF18BC9E18A}" presName="parTxOnly" presStyleLbl="node1" presStyleIdx="10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EA4B5DB-BCE3-4F9F-9870-BEC7AEEF868A}" type="pres">
      <dgm:prSet presAssocID="{BA702B5A-19EC-4527-80E0-2C29E6C5DBC5}" presName="parTxOnlySpace" presStyleCnt="0"/>
      <dgm:spPr/>
    </dgm:pt>
    <dgm:pt modelId="{164DE5D1-BBC0-4AE0-8E38-2A359BD8A8E9}" type="pres">
      <dgm:prSet presAssocID="{E3C9911D-1037-4FF6-8BFC-D1A2DE57138C}" presName="parTxOnly" presStyleLbl="node1" presStyleIdx="11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166105C-650D-4D9C-9839-BB9553CBB6E3}" type="pres">
      <dgm:prSet presAssocID="{F60B17AC-B0E2-43AC-8992-0AE01E0C75C1}" presName="parTxOnlySpace" presStyleCnt="0"/>
      <dgm:spPr/>
    </dgm:pt>
    <dgm:pt modelId="{9D1842D8-62B6-4074-A211-CCF8A41D2BF5}" type="pres">
      <dgm:prSet presAssocID="{A83E2E44-5733-4F14-AC04-A8280998AB9E}" presName="parTxOnly" presStyleLbl="node1" presStyleIdx="12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189A47-C2C9-4C28-B2E7-40881F62FB9E}" type="pres">
      <dgm:prSet presAssocID="{851325E2-63DD-48A0-920D-0BA65329304F}" presName="parTxOnlySpace" presStyleCnt="0"/>
      <dgm:spPr/>
    </dgm:pt>
    <dgm:pt modelId="{28BC2337-8C47-45D1-849C-7673D7E568C9}" type="pres">
      <dgm:prSet presAssocID="{3DA7759F-2DE6-400F-8A0A-128A7EBCC91B}" presName="parTxOnly" presStyleLbl="node1" presStyleIdx="13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0A0CEE-3790-4866-84E9-B719AB0764B0}" type="pres">
      <dgm:prSet presAssocID="{C9AB6A8E-1C9B-4F96-9A42-6B04393D69E3}" presName="parTxOnlySpace" presStyleCnt="0"/>
      <dgm:spPr/>
    </dgm:pt>
    <dgm:pt modelId="{71316140-4F51-4BE9-944D-2FA0D0B2F51A}" type="pres">
      <dgm:prSet presAssocID="{9FEBDBA4-1961-467C-8EC4-B4F8C5777F17}" presName="parTxOnly" presStyleLbl="node1" presStyleIdx="14" presStyleCnt="1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4EC4A50-0EDE-4D9F-90EE-BB60EE988C37}" srcId="{51512258-4010-4862-BCAF-0AFF48AD8C2D}" destId="{A83E2E44-5733-4F14-AC04-A8280998AB9E}" srcOrd="12" destOrd="0" parTransId="{DDF18870-1A3B-4F84-8B60-030702BFD606}" sibTransId="{851325E2-63DD-48A0-920D-0BA65329304F}"/>
    <dgm:cxn modelId="{683E195E-38BD-4DF0-B88F-04D31F8CEF83}" type="presOf" srcId="{CA545C54-DAE9-4B2D-80F5-B6CDB4F98432}" destId="{0347E9C4-9047-4161-9C7F-977039714E41}" srcOrd="0" destOrd="0" presId="urn:microsoft.com/office/officeart/2005/8/layout/chevron1"/>
    <dgm:cxn modelId="{1B211613-827D-4B30-BBC1-79E640B2E10A}" type="presOf" srcId="{F50FA3FF-4014-49F0-BF7D-3F4AD14B1A4F}" destId="{7D114638-BEA6-47FE-8512-8F7EDAF9D2F1}" srcOrd="0" destOrd="0" presId="urn:microsoft.com/office/officeart/2005/8/layout/chevron1"/>
    <dgm:cxn modelId="{A484CCD2-45B3-4E9D-81EE-45C531399A05}" srcId="{51512258-4010-4862-BCAF-0AFF48AD8C2D}" destId="{E3C9911D-1037-4FF6-8BFC-D1A2DE57138C}" srcOrd="11" destOrd="0" parTransId="{C79F2AA3-5EE9-4925-AB9C-ADBE2A655A10}" sibTransId="{F60B17AC-B0E2-43AC-8992-0AE01E0C75C1}"/>
    <dgm:cxn modelId="{F2005D4A-A22D-4701-ACAC-41AB96BE549C}" type="presOf" srcId="{483C8FE5-2365-4314-8BF4-3FB3A53902FE}" destId="{09799274-3A1B-4777-BB61-2A79CBF90307}" srcOrd="0" destOrd="0" presId="urn:microsoft.com/office/officeart/2005/8/layout/chevron1"/>
    <dgm:cxn modelId="{2E9360DF-1063-496E-B33D-76F5EF7C1590}" srcId="{51512258-4010-4862-BCAF-0AFF48AD8C2D}" destId="{9FEBDBA4-1961-467C-8EC4-B4F8C5777F17}" srcOrd="14" destOrd="0" parTransId="{217D4E9D-841A-40F1-962B-3FB563CEA0C1}" sibTransId="{A3D60B32-A7D8-4EE6-9CE4-54FE4BBFC9F0}"/>
    <dgm:cxn modelId="{01977A00-EE03-448F-A5F1-022766151CD8}" type="presOf" srcId="{35D2D640-E587-42A4-9595-DEB47819700C}" destId="{68D410C3-DFE8-403F-8658-F790C795DE62}" srcOrd="0" destOrd="0" presId="urn:microsoft.com/office/officeart/2005/8/layout/chevron1"/>
    <dgm:cxn modelId="{5127947A-D0B4-4D52-8B95-31D5CAE492E9}" srcId="{51512258-4010-4862-BCAF-0AFF48AD8C2D}" destId="{3A6A2CAE-5C11-4CE6-9794-35EACE70B231}" srcOrd="2" destOrd="0" parTransId="{8E56D2F0-00ED-478C-B368-33533546EBB1}" sibTransId="{0720A0B1-43E2-42DB-9CDA-B80F27DF8ABD}"/>
    <dgm:cxn modelId="{6BEB59D0-E6B6-4594-8402-AFEB57CE966D}" srcId="{51512258-4010-4862-BCAF-0AFF48AD8C2D}" destId="{67E5612C-92A2-465D-AAB9-CD924956601E}" srcOrd="1" destOrd="0" parTransId="{E0E5651C-B40B-40F8-9945-FAD3EC0B9F81}" sibTransId="{9B8D99B0-FC30-4882-855D-DDA24423007F}"/>
    <dgm:cxn modelId="{31FEAFAD-3E6A-42B8-A309-5FBC1D16BFB6}" type="presOf" srcId="{3A6A2CAE-5C11-4CE6-9794-35EACE70B231}" destId="{FB6070FF-47D4-4DCA-BC24-93EC5EBFBD0A}" srcOrd="0" destOrd="0" presId="urn:microsoft.com/office/officeart/2005/8/layout/chevron1"/>
    <dgm:cxn modelId="{4AA714FD-D2DA-44BF-883C-368F0B6E59E3}" srcId="{51512258-4010-4862-BCAF-0AFF48AD8C2D}" destId="{3DA7759F-2DE6-400F-8A0A-128A7EBCC91B}" srcOrd="13" destOrd="0" parTransId="{72CD6273-5659-4F62-B178-1C845FC853F0}" sibTransId="{C9AB6A8E-1C9B-4F96-9A42-6B04393D69E3}"/>
    <dgm:cxn modelId="{E1810F3D-FEE3-4930-ABA2-83EB6A0163D6}" type="presOf" srcId="{C36225A0-42D9-4091-B8BD-8FB036C24641}" destId="{A6F217FA-D19C-43E3-97CB-7A7E36625BA4}" srcOrd="0" destOrd="0" presId="urn:microsoft.com/office/officeart/2005/8/layout/chevron1"/>
    <dgm:cxn modelId="{B7FA0319-9150-4B24-8E85-831B281479C8}" type="presOf" srcId="{E3C9911D-1037-4FF6-8BFC-D1A2DE57138C}" destId="{164DE5D1-BBC0-4AE0-8E38-2A359BD8A8E9}" srcOrd="0" destOrd="0" presId="urn:microsoft.com/office/officeart/2005/8/layout/chevron1"/>
    <dgm:cxn modelId="{B3832D59-45C0-48CD-A6D5-4FC78D3CD89A}" type="presOf" srcId="{A2A1A3CC-4580-4531-962B-31C0C9FDBFF3}" destId="{C53A5E80-B21D-4297-A0FD-6CCFC1C1F5B6}" srcOrd="0" destOrd="0" presId="urn:microsoft.com/office/officeart/2005/8/layout/chevron1"/>
    <dgm:cxn modelId="{F7290463-A240-4764-9E29-54A18F13E965}" srcId="{51512258-4010-4862-BCAF-0AFF48AD8C2D}" destId="{A5397106-FF09-422B-B2D7-ABC665B55FC2}" srcOrd="9" destOrd="0" parTransId="{24B4AD5E-D718-4FF4-AC88-7E60540F1AC4}" sibTransId="{EE328860-BCA4-4F76-8AF4-AEF3994E105C}"/>
    <dgm:cxn modelId="{2A91A810-FEA5-4F41-94C0-16766D345BE6}" srcId="{51512258-4010-4862-BCAF-0AFF48AD8C2D}" destId="{35D2D640-E587-42A4-9595-DEB47819700C}" srcOrd="0" destOrd="0" parTransId="{0B98B869-46EC-4FA9-B482-44A69D9D6B69}" sibTransId="{411CC8C0-3D91-4802-8004-F23283EC63F5}"/>
    <dgm:cxn modelId="{DD275301-3FB7-47CB-9831-9B7E64D9E9D5}" srcId="{51512258-4010-4862-BCAF-0AFF48AD8C2D}" destId="{934ABA3A-D9EC-4697-892F-BBEE8A45294F}" srcOrd="4" destOrd="0" parTransId="{6155CBAD-9F37-4979-B3D4-C90797ACFF76}" sibTransId="{BC3372C4-639C-4E17-84B9-153070FB3075}"/>
    <dgm:cxn modelId="{85F73B77-0393-47AA-8216-43D7EF3A8BCB}" type="presOf" srcId="{934ABA3A-D9EC-4697-892F-BBEE8A45294F}" destId="{C5EE5834-10AC-4A9C-B2E1-FCA360F4F05C}" srcOrd="0" destOrd="0" presId="urn:microsoft.com/office/officeart/2005/8/layout/chevron1"/>
    <dgm:cxn modelId="{104E0435-BF2A-4477-A8F3-DDD2B0DC82A3}" type="presOf" srcId="{3DA7759F-2DE6-400F-8A0A-128A7EBCC91B}" destId="{28BC2337-8C47-45D1-849C-7673D7E568C9}" srcOrd="0" destOrd="0" presId="urn:microsoft.com/office/officeart/2005/8/layout/chevron1"/>
    <dgm:cxn modelId="{B5F0D2A7-C350-4920-922B-60F2DD8B1006}" type="presOf" srcId="{9FEBDBA4-1961-467C-8EC4-B4F8C5777F17}" destId="{71316140-4F51-4BE9-944D-2FA0D0B2F51A}" srcOrd="0" destOrd="0" presId="urn:microsoft.com/office/officeart/2005/8/layout/chevron1"/>
    <dgm:cxn modelId="{F1EEE7C4-0573-4A09-A15E-5D47C2E258F3}" srcId="{51512258-4010-4862-BCAF-0AFF48AD8C2D}" destId="{CA545C54-DAE9-4B2D-80F5-B6CDB4F98432}" srcOrd="8" destOrd="0" parTransId="{E840565A-BBC8-4CF7-9FAF-52DC4B0B22AB}" sibTransId="{716ABF16-E2E5-4C56-9207-58D1511D4BAA}"/>
    <dgm:cxn modelId="{31B3BE43-1F54-447D-9A41-C8BC58261FBA}" srcId="{51512258-4010-4862-BCAF-0AFF48AD8C2D}" destId="{483C8FE5-2365-4314-8BF4-3FB3A53902FE}" srcOrd="3" destOrd="0" parTransId="{62AD7E4E-8748-4D03-A83F-8F1D231919FB}" sibTransId="{9179D8A2-2BFF-4434-9869-942BE4C2988E}"/>
    <dgm:cxn modelId="{0FF6FE97-2707-40A8-A4F6-B0F4B46B81BE}" type="presOf" srcId="{51512258-4010-4862-BCAF-0AFF48AD8C2D}" destId="{DF693EFF-19CF-4551-AB0D-C7491D57C3CF}" srcOrd="0" destOrd="0" presId="urn:microsoft.com/office/officeart/2005/8/layout/chevron1"/>
    <dgm:cxn modelId="{B304C588-E6BF-4E81-BEE6-3FD4744B9145}" srcId="{51512258-4010-4862-BCAF-0AFF48AD8C2D}" destId="{F50FA3FF-4014-49F0-BF7D-3F4AD14B1A4F}" srcOrd="7" destOrd="0" parTransId="{8132B515-AF35-431D-9C49-EB29ABDF31EA}" sibTransId="{01C57E8F-038C-4078-A5B7-63716B7B8297}"/>
    <dgm:cxn modelId="{9F21D137-9505-4BFA-80A3-E299164678B9}" type="presOf" srcId="{2B8BAF77-30A4-414C-A949-2DF18BC9E18A}" destId="{5112891F-5568-477B-870A-5104839D1408}" srcOrd="0" destOrd="0" presId="urn:microsoft.com/office/officeart/2005/8/layout/chevron1"/>
    <dgm:cxn modelId="{58E0C3E4-9356-47F2-9A57-B5429BC3B793}" srcId="{51512258-4010-4862-BCAF-0AFF48AD8C2D}" destId="{2B8BAF77-30A4-414C-A949-2DF18BC9E18A}" srcOrd="10" destOrd="0" parTransId="{FCBDB82D-ED30-41C3-9A14-2A890E5B1C8C}" sibTransId="{BA702B5A-19EC-4527-80E0-2C29E6C5DBC5}"/>
    <dgm:cxn modelId="{D7A0DCE4-FFC1-4FEC-A306-B395EA4CD058}" srcId="{51512258-4010-4862-BCAF-0AFF48AD8C2D}" destId="{C36225A0-42D9-4091-B8BD-8FB036C24641}" srcOrd="5" destOrd="0" parTransId="{DA0991B3-D7BE-4421-94E0-2E03823702AA}" sibTransId="{37909E2F-8E48-4E86-A83F-7DEBC0F30C60}"/>
    <dgm:cxn modelId="{10657B4B-31A5-4E6A-963A-7F1317F8BE53}" type="presOf" srcId="{67E5612C-92A2-465D-AAB9-CD924956601E}" destId="{42DA0ACA-0711-41CD-9575-C7C335211645}" srcOrd="0" destOrd="0" presId="urn:microsoft.com/office/officeart/2005/8/layout/chevron1"/>
    <dgm:cxn modelId="{FF7D74DA-39C9-4668-BED1-DC84F10B9C61}" srcId="{51512258-4010-4862-BCAF-0AFF48AD8C2D}" destId="{A2A1A3CC-4580-4531-962B-31C0C9FDBFF3}" srcOrd="6" destOrd="0" parTransId="{AE95FDD4-A068-4030-8173-A8B88F80AB41}" sibTransId="{B482DC9C-9DA9-42A2-A16D-6E00B5B9A0FA}"/>
    <dgm:cxn modelId="{E7047980-2A36-4F07-B381-3A8E8D3F1C17}" type="presOf" srcId="{A5397106-FF09-422B-B2D7-ABC665B55FC2}" destId="{4D4352FE-709E-4549-9FB4-4B4BC01D4969}" srcOrd="0" destOrd="0" presId="urn:microsoft.com/office/officeart/2005/8/layout/chevron1"/>
    <dgm:cxn modelId="{0956C531-AFE6-4545-B1F0-4053326B7F00}" type="presOf" srcId="{A83E2E44-5733-4F14-AC04-A8280998AB9E}" destId="{9D1842D8-62B6-4074-A211-CCF8A41D2BF5}" srcOrd="0" destOrd="0" presId="urn:microsoft.com/office/officeart/2005/8/layout/chevron1"/>
    <dgm:cxn modelId="{233F8563-15B3-4D60-BE88-70ED77CE933C}" type="presParOf" srcId="{DF693EFF-19CF-4551-AB0D-C7491D57C3CF}" destId="{68D410C3-DFE8-403F-8658-F790C795DE62}" srcOrd="0" destOrd="0" presId="urn:microsoft.com/office/officeart/2005/8/layout/chevron1"/>
    <dgm:cxn modelId="{7BB0AF1F-91E8-40CE-A735-B4A1A18D76B5}" type="presParOf" srcId="{DF693EFF-19CF-4551-AB0D-C7491D57C3CF}" destId="{D7B53D45-39FE-4721-A232-D51899D19F15}" srcOrd="1" destOrd="0" presId="urn:microsoft.com/office/officeart/2005/8/layout/chevron1"/>
    <dgm:cxn modelId="{7A107418-D4BF-446E-BEB0-EBF0FB06D81A}" type="presParOf" srcId="{DF693EFF-19CF-4551-AB0D-C7491D57C3CF}" destId="{42DA0ACA-0711-41CD-9575-C7C335211645}" srcOrd="2" destOrd="0" presId="urn:microsoft.com/office/officeart/2005/8/layout/chevron1"/>
    <dgm:cxn modelId="{C4F04E98-CE8C-485C-8808-1843E81349FE}" type="presParOf" srcId="{DF693EFF-19CF-4551-AB0D-C7491D57C3CF}" destId="{5C090E9C-09D5-40E2-8F1E-B54759157303}" srcOrd="3" destOrd="0" presId="urn:microsoft.com/office/officeart/2005/8/layout/chevron1"/>
    <dgm:cxn modelId="{B9717352-6735-4A40-AC1D-1D4846C05F15}" type="presParOf" srcId="{DF693EFF-19CF-4551-AB0D-C7491D57C3CF}" destId="{FB6070FF-47D4-4DCA-BC24-93EC5EBFBD0A}" srcOrd="4" destOrd="0" presId="urn:microsoft.com/office/officeart/2005/8/layout/chevron1"/>
    <dgm:cxn modelId="{46CF3A02-4A80-4BD4-A065-F077A463BA3C}" type="presParOf" srcId="{DF693EFF-19CF-4551-AB0D-C7491D57C3CF}" destId="{E77BF1C0-E8D5-47B8-A801-9B88BE7F11FA}" srcOrd="5" destOrd="0" presId="urn:microsoft.com/office/officeart/2005/8/layout/chevron1"/>
    <dgm:cxn modelId="{71573473-E04E-4ED0-863E-E881B8D24953}" type="presParOf" srcId="{DF693EFF-19CF-4551-AB0D-C7491D57C3CF}" destId="{09799274-3A1B-4777-BB61-2A79CBF90307}" srcOrd="6" destOrd="0" presId="urn:microsoft.com/office/officeart/2005/8/layout/chevron1"/>
    <dgm:cxn modelId="{57EE2284-FAE0-4B59-AF50-41E7C3588F6C}" type="presParOf" srcId="{DF693EFF-19CF-4551-AB0D-C7491D57C3CF}" destId="{52BEADF3-9859-45BA-97D9-6B5F270E40F5}" srcOrd="7" destOrd="0" presId="urn:microsoft.com/office/officeart/2005/8/layout/chevron1"/>
    <dgm:cxn modelId="{B1F5935F-03CC-4097-BA45-9F9A2C3ECD7C}" type="presParOf" srcId="{DF693EFF-19CF-4551-AB0D-C7491D57C3CF}" destId="{C5EE5834-10AC-4A9C-B2E1-FCA360F4F05C}" srcOrd="8" destOrd="0" presId="urn:microsoft.com/office/officeart/2005/8/layout/chevron1"/>
    <dgm:cxn modelId="{9ABA39FF-2B4D-439D-9E62-225FAFA0F051}" type="presParOf" srcId="{DF693EFF-19CF-4551-AB0D-C7491D57C3CF}" destId="{E339698E-3452-4235-9C67-269474DFA604}" srcOrd="9" destOrd="0" presId="urn:microsoft.com/office/officeart/2005/8/layout/chevron1"/>
    <dgm:cxn modelId="{7FDEEAC3-DC0D-4125-A229-6561C12D74D7}" type="presParOf" srcId="{DF693EFF-19CF-4551-AB0D-C7491D57C3CF}" destId="{A6F217FA-D19C-43E3-97CB-7A7E36625BA4}" srcOrd="10" destOrd="0" presId="urn:microsoft.com/office/officeart/2005/8/layout/chevron1"/>
    <dgm:cxn modelId="{914D8857-C58B-4151-8FC9-D5997B4EF008}" type="presParOf" srcId="{DF693EFF-19CF-4551-AB0D-C7491D57C3CF}" destId="{E852499E-4C18-4D8B-8503-441A601F0EFF}" srcOrd="11" destOrd="0" presId="urn:microsoft.com/office/officeart/2005/8/layout/chevron1"/>
    <dgm:cxn modelId="{F4B4874E-8E0B-4126-999A-94E47C77DFDF}" type="presParOf" srcId="{DF693EFF-19CF-4551-AB0D-C7491D57C3CF}" destId="{C53A5E80-B21D-4297-A0FD-6CCFC1C1F5B6}" srcOrd="12" destOrd="0" presId="urn:microsoft.com/office/officeart/2005/8/layout/chevron1"/>
    <dgm:cxn modelId="{A97188C7-1DB9-4AC1-BB91-02B05A165E22}" type="presParOf" srcId="{DF693EFF-19CF-4551-AB0D-C7491D57C3CF}" destId="{EBBBA81D-F736-4E44-9D4A-4A9A21DC8D1C}" srcOrd="13" destOrd="0" presId="urn:microsoft.com/office/officeart/2005/8/layout/chevron1"/>
    <dgm:cxn modelId="{37466892-093E-448F-B3E9-D61D078E834F}" type="presParOf" srcId="{DF693EFF-19CF-4551-AB0D-C7491D57C3CF}" destId="{7D114638-BEA6-47FE-8512-8F7EDAF9D2F1}" srcOrd="14" destOrd="0" presId="urn:microsoft.com/office/officeart/2005/8/layout/chevron1"/>
    <dgm:cxn modelId="{6F4F2416-41A7-4D9D-BF1E-6F79E2A4203A}" type="presParOf" srcId="{DF693EFF-19CF-4551-AB0D-C7491D57C3CF}" destId="{C7211BA1-BF85-43AC-A4A1-0F3B7332EC52}" srcOrd="15" destOrd="0" presId="urn:microsoft.com/office/officeart/2005/8/layout/chevron1"/>
    <dgm:cxn modelId="{DB276B96-9691-401B-8328-FE493D50D493}" type="presParOf" srcId="{DF693EFF-19CF-4551-AB0D-C7491D57C3CF}" destId="{0347E9C4-9047-4161-9C7F-977039714E41}" srcOrd="16" destOrd="0" presId="urn:microsoft.com/office/officeart/2005/8/layout/chevron1"/>
    <dgm:cxn modelId="{BDDD468F-73D0-422C-8556-55B2EE29289B}" type="presParOf" srcId="{DF693EFF-19CF-4551-AB0D-C7491D57C3CF}" destId="{EFAE1A64-97D9-42E0-AC97-3FBD47342FE7}" srcOrd="17" destOrd="0" presId="urn:microsoft.com/office/officeart/2005/8/layout/chevron1"/>
    <dgm:cxn modelId="{06BDB15F-AC2F-49C9-89EE-B57233316232}" type="presParOf" srcId="{DF693EFF-19CF-4551-AB0D-C7491D57C3CF}" destId="{4D4352FE-709E-4549-9FB4-4B4BC01D4969}" srcOrd="18" destOrd="0" presId="urn:microsoft.com/office/officeart/2005/8/layout/chevron1"/>
    <dgm:cxn modelId="{B4D6991E-4A79-4333-B1EB-1FCEFB52E7FF}" type="presParOf" srcId="{DF693EFF-19CF-4551-AB0D-C7491D57C3CF}" destId="{AAD0465F-1D58-4069-BB20-A1252D660E06}" srcOrd="19" destOrd="0" presId="urn:microsoft.com/office/officeart/2005/8/layout/chevron1"/>
    <dgm:cxn modelId="{54361EE1-301F-44E6-B568-2F1D0ECC05AE}" type="presParOf" srcId="{DF693EFF-19CF-4551-AB0D-C7491D57C3CF}" destId="{5112891F-5568-477B-870A-5104839D1408}" srcOrd="20" destOrd="0" presId="urn:microsoft.com/office/officeart/2005/8/layout/chevron1"/>
    <dgm:cxn modelId="{C9338953-CB8A-4A50-B2C2-BA93D0365F4B}" type="presParOf" srcId="{DF693EFF-19CF-4551-AB0D-C7491D57C3CF}" destId="{1EA4B5DB-BCE3-4F9F-9870-BEC7AEEF868A}" srcOrd="21" destOrd="0" presId="urn:microsoft.com/office/officeart/2005/8/layout/chevron1"/>
    <dgm:cxn modelId="{B54A237B-64D1-4CB6-BDE9-F36A16B9F953}" type="presParOf" srcId="{DF693EFF-19CF-4551-AB0D-C7491D57C3CF}" destId="{164DE5D1-BBC0-4AE0-8E38-2A359BD8A8E9}" srcOrd="22" destOrd="0" presId="urn:microsoft.com/office/officeart/2005/8/layout/chevron1"/>
    <dgm:cxn modelId="{528493BC-5A46-4FE1-8725-E70BC8298A3E}" type="presParOf" srcId="{DF693EFF-19CF-4551-AB0D-C7491D57C3CF}" destId="{A166105C-650D-4D9C-9839-BB9553CBB6E3}" srcOrd="23" destOrd="0" presId="urn:microsoft.com/office/officeart/2005/8/layout/chevron1"/>
    <dgm:cxn modelId="{CBC653DF-9D53-4276-B403-C0A646AC45BF}" type="presParOf" srcId="{DF693EFF-19CF-4551-AB0D-C7491D57C3CF}" destId="{9D1842D8-62B6-4074-A211-CCF8A41D2BF5}" srcOrd="24" destOrd="0" presId="urn:microsoft.com/office/officeart/2005/8/layout/chevron1"/>
    <dgm:cxn modelId="{66D93ABA-0443-4F9D-BEC5-D50EB09B5504}" type="presParOf" srcId="{DF693EFF-19CF-4551-AB0D-C7491D57C3CF}" destId="{F4189A47-C2C9-4C28-B2E7-40881F62FB9E}" srcOrd="25" destOrd="0" presId="urn:microsoft.com/office/officeart/2005/8/layout/chevron1"/>
    <dgm:cxn modelId="{EB053AC5-A351-4F7B-9DAC-AEDB0144C308}" type="presParOf" srcId="{DF693EFF-19CF-4551-AB0D-C7491D57C3CF}" destId="{28BC2337-8C47-45D1-849C-7673D7E568C9}" srcOrd="26" destOrd="0" presId="urn:microsoft.com/office/officeart/2005/8/layout/chevron1"/>
    <dgm:cxn modelId="{CA7A260A-1E6B-4B42-BCE7-AD2870B5A076}" type="presParOf" srcId="{DF693EFF-19CF-4551-AB0D-C7491D57C3CF}" destId="{440A0CEE-3790-4866-84E9-B719AB0764B0}" srcOrd="27" destOrd="0" presId="urn:microsoft.com/office/officeart/2005/8/layout/chevron1"/>
    <dgm:cxn modelId="{6D498A15-EA75-4B01-B357-7B00AB695194}" type="presParOf" srcId="{DF693EFF-19CF-4551-AB0D-C7491D57C3CF}" destId="{71316140-4F51-4BE9-944D-2FA0D0B2F51A}" srcOrd="2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CC5B6BD-0FDD-44BE-AA95-FF88590F2417}" type="doc">
      <dgm:prSet loTypeId="urn:microsoft.com/office/officeart/2005/8/layout/orgChart1" loCatId="hierarchy" qsTypeId="urn:microsoft.com/office/officeart/2005/8/quickstyle/simple3" qsCatId="simple" csTypeId="urn:microsoft.com/office/officeart/2005/8/colors/accent2_3" csCatId="accent2" phldr="1"/>
      <dgm:spPr/>
      <dgm:t>
        <a:bodyPr/>
        <a:lstStyle/>
        <a:p>
          <a:endParaRPr lang="ru-RU"/>
        </a:p>
      </dgm:t>
    </dgm:pt>
    <dgm:pt modelId="{C0CE6DA0-2CB3-406F-BDC2-CA84F5A1DE98}">
      <dgm:prSet phldrT="[Текст]" custT="1"/>
      <dgm:spPr/>
      <dgm:t>
        <a:bodyPr/>
        <a:lstStyle/>
        <a:p>
          <a:r>
            <a:rPr lang="ru-RU" sz="2000" dirty="0" smtClean="0"/>
            <a:t>Проект</a:t>
          </a:r>
          <a:endParaRPr lang="ru-RU" sz="2000" dirty="0"/>
        </a:p>
      </dgm:t>
    </dgm:pt>
    <dgm:pt modelId="{742CA595-C13F-4E46-A71E-3A30BBD0ABA6}" type="parTrans" cxnId="{E4B48E96-D0DF-452B-B0BF-E1A92055EE16}">
      <dgm:prSet/>
      <dgm:spPr/>
      <dgm:t>
        <a:bodyPr/>
        <a:lstStyle/>
        <a:p>
          <a:endParaRPr lang="ru-RU"/>
        </a:p>
      </dgm:t>
    </dgm:pt>
    <dgm:pt modelId="{82DC7297-F67E-4459-8054-C6629CDFC07C}" type="sibTrans" cxnId="{E4B48E96-D0DF-452B-B0BF-E1A92055EE16}">
      <dgm:prSet/>
      <dgm:spPr/>
      <dgm:t>
        <a:bodyPr/>
        <a:lstStyle/>
        <a:p>
          <a:endParaRPr lang="ru-RU"/>
        </a:p>
      </dgm:t>
    </dgm:pt>
    <dgm:pt modelId="{1F5DBD33-D1B0-499B-A8E5-0E95F1B7BC0E}">
      <dgm:prSet phldrT="[Текст]" custT="1"/>
      <dgm:spPr/>
      <dgm:t>
        <a:bodyPr/>
        <a:lstStyle/>
        <a:p>
          <a:r>
            <a:rPr lang="ru-RU" sz="1400" dirty="0" smtClean="0"/>
            <a:t>Внешние</a:t>
          </a:r>
          <a:endParaRPr lang="ru-RU" sz="1400" dirty="0"/>
        </a:p>
      </dgm:t>
    </dgm:pt>
    <dgm:pt modelId="{6AD19CAF-48F2-4FB2-8CBC-35F6FF208D5F}" type="parTrans" cxnId="{D3560D5C-1544-4928-943D-8712D7D4F036}">
      <dgm:prSet/>
      <dgm:spPr/>
      <dgm:t>
        <a:bodyPr/>
        <a:lstStyle/>
        <a:p>
          <a:endParaRPr lang="ru-RU" sz="1400"/>
        </a:p>
      </dgm:t>
    </dgm:pt>
    <dgm:pt modelId="{4F989FF3-F7B5-4D42-AAEE-AF6EA81E760E}" type="sibTrans" cxnId="{D3560D5C-1544-4928-943D-8712D7D4F036}">
      <dgm:prSet/>
      <dgm:spPr/>
      <dgm:t>
        <a:bodyPr/>
        <a:lstStyle/>
        <a:p>
          <a:endParaRPr lang="ru-RU"/>
        </a:p>
      </dgm:t>
    </dgm:pt>
    <dgm:pt modelId="{A176B158-7A98-4C07-965D-69A6E903E0AB}">
      <dgm:prSet phldrT="[Текст]" custT="1"/>
      <dgm:spPr/>
      <dgm:t>
        <a:bodyPr/>
        <a:lstStyle/>
        <a:p>
          <a:r>
            <a:rPr lang="ru-RU" sz="1400" dirty="0" smtClean="0"/>
            <a:t>Внутренние</a:t>
          </a:r>
          <a:endParaRPr lang="ru-RU" sz="1400" dirty="0"/>
        </a:p>
      </dgm:t>
    </dgm:pt>
    <dgm:pt modelId="{5256A4B6-040D-4117-9F23-2AB8212F0916}" type="parTrans" cxnId="{47340112-37C0-4672-B04D-51632A7024BF}">
      <dgm:prSet/>
      <dgm:spPr/>
      <dgm:t>
        <a:bodyPr/>
        <a:lstStyle/>
        <a:p>
          <a:endParaRPr lang="ru-RU" sz="1400"/>
        </a:p>
      </dgm:t>
    </dgm:pt>
    <dgm:pt modelId="{09CD76BC-8B25-410C-A1F3-09F00C32C6F8}" type="sibTrans" cxnId="{47340112-37C0-4672-B04D-51632A7024BF}">
      <dgm:prSet/>
      <dgm:spPr/>
      <dgm:t>
        <a:bodyPr/>
        <a:lstStyle/>
        <a:p>
          <a:endParaRPr lang="ru-RU"/>
        </a:p>
      </dgm:t>
    </dgm:pt>
    <dgm:pt modelId="{FFBD3478-F84B-4311-AB6D-D837DCAE78E8}">
      <dgm:prSet custT="1"/>
      <dgm:spPr/>
      <dgm:t>
        <a:bodyPr/>
        <a:lstStyle/>
        <a:p>
          <a:r>
            <a:rPr lang="ru-RU" sz="1400" dirty="0" smtClean="0"/>
            <a:t>Погода</a:t>
          </a:r>
          <a:endParaRPr lang="ru-RU" sz="1400" dirty="0"/>
        </a:p>
      </dgm:t>
    </dgm:pt>
    <dgm:pt modelId="{A7F6DC70-9486-4436-9F87-7FBBBB25BB01}" type="parTrans" cxnId="{5C8D8FCC-8596-48AB-890F-4D844CC495E3}">
      <dgm:prSet/>
      <dgm:spPr/>
      <dgm:t>
        <a:bodyPr/>
        <a:lstStyle/>
        <a:p>
          <a:endParaRPr lang="ru-RU" sz="1400"/>
        </a:p>
      </dgm:t>
    </dgm:pt>
    <dgm:pt modelId="{0A961F3A-9C3E-48C3-B859-44011179A675}" type="sibTrans" cxnId="{5C8D8FCC-8596-48AB-890F-4D844CC495E3}">
      <dgm:prSet/>
      <dgm:spPr/>
      <dgm:t>
        <a:bodyPr/>
        <a:lstStyle/>
        <a:p>
          <a:endParaRPr lang="ru-RU"/>
        </a:p>
      </dgm:t>
    </dgm:pt>
    <dgm:pt modelId="{0A12F72F-06B3-4F1C-ADAB-09A97F0616DE}">
      <dgm:prSet custT="1"/>
      <dgm:spPr/>
      <dgm:t>
        <a:bodyPr/>
        <a:lstStyle/>
        <a:p>
          <a:r>
            <a:rPr lang="ru-RU" sz="1400" dirty="0" smtClean="0"/>
            <a:t>Подрядчики и поставщики</a:t>
          </a:r>
          <a:endParaRPr lang="ru-RU" sz="1400" dirty="0"/>
        </a:p>
      </dgm:t>
    </dgm:pt>
    <dgm:pt modelId="{49C9AFBA-13B9-4109-B80C-829FC5636C35}" type="parTrans" cxnId="{20E6CB93-89A5-4FBA-8EA0-B6763112BD3E}">
      <dgm:prSet/>
      <dgm:spPr/>
      <dgm:t>
        <a:bodyPr/>
        <a:lstStyle/>
        <a:p>
          <a:endParaRPr lang="ru-RU" sz="1400"/>
        </a:p>
      </dgm:t>
    </dgm:pt>
    <dgm:pt modelId="{62523E1F-53FD-48B4-B28E-27071EB58357}" type="sibTrans" cxnId="{20E6CB93-89A5-4FBA-8EA0-B6763112BD3E}">
      <dgm:prSet/>
      <dgm:spPr/>
      <dgm:t>
        <a:bodyPr/>
        <a:lstStyle/>
        <a:p>
          <a:endParaRPr lang="ru-RU"/>
        </a:p>
      </dgm:t>
    </dgm:pt>
    <dgm:pt modelId="{36ABF481-84E2-4E7F-A1AE-7C482F40B6AC}">
      <dgm:prSet custT="1"/>
      <dgm:spPr/>
      <dgm:t>
        <a:bodyPr/>
        <a:lstStyle/>
        <a:p>
          <a:r>
            <a:rPr lang="ru-RU" sz="1400" dirty="0" smtClean="0"/>
            <a:t>Регулирующие органы</a:t>
          </a:r>
          <a:endParaRPr lang="ru-RU" sz="1400" dirty="0"/>
        </a:p>
      </dgm:t>
    </dgm:pt>
    <dgm:pt modelId="{CDBDF033-DB69-4D07-9C5F-3EE75E61E973}" type="parTrans" cxnId="{AE2958BE-6DB6-45C1-97F6-E9D4E61329AE}">
      <dgm:prSet/>
      <dgm:spPr/>
      <dgm:t>
        <a:bodyPr/>
        <a:lstStyle/>
        <a:p>
          <a:endParaRPr lang="ru-RU" sz="1400"/>
        </a:p>
      </dgm:t>
    </dgm:pt>
    <dgm:pt modelId="{2E2DE1AF-0644-4D10-9317-17735A6A8AE2}" type="sibTrans" cxnId="{AE2958BE-6DB6-45C1-97F6-E9D4E61329AE}">
      <dgm:prSet/>
      <dgm:spPr/>
      <dgm:t>
        <a:bodyPr/>
        <a:lstStyle/>
        <a:p>
          <a:endParaRPr lang="ru-RU"/>
        </a:p>
      </dgm:t>
    </dgm:pt>
    <dgm:pt modelId="{A536DF82-EE42-495A-8BC9-2FE54F4CD6BA}">
      <dgm:prSet custT="1"/>
      <dgm:spPr/>
      <dgm:t>
        <a:bodyPr/>
        <a:lstStyle/>
        <a:p>
          <a:r>
            <a:rPr lang="ru-RU" sz="1400" dirty="0" smtClean="0"/>
            <a:t>Заказчик</a:t>
          </a:r>
          <a:endParaRPr lang="ru-RU" sz="1400" dirty="0"/>
        </a:p>
      </dgm:t>
    </dgm:pt>
    <dgm:pt modelId="{3B6F0EBF-0412-470F-A18F-D699B1E24225}" type="parTrans" cxnId="{A12977DD-9CB2-407C-B106-0D5524D03905}">
      <dgm:prSet/>
      <dgm:spPr/>
      <dgm:t>
        <a:bodyPr/>
        <a:lstStyle/>
        <a:p>
          <a:endParaRPr lang="ru-RU" sz="1400"/>
        </a:p>
      </dgm:t>
    </dgm:pt>
    <dgm:pt modelId="{3F979199-EB39-4DA3-86A2-0F8E0B337B2C}" type="sibTrans" cxnId="{A12977DD-9CB2-407C-B106-0D5524D03905}">
      <dgm:prSet/>
      <dgm:spPr/>
      <dgm:t>
        <a:bodyPr/>
        <a:lstStyle/>
        <a:p>
          <a:endParaRPr lang="ru-RU"/>
        </a:p>
      </dgm:t>
    </dgm:pt>
    <dgm:pt modelId="{B1F247AE-A22C-4ABC-8543-D5C6669D0841}">
      <dgm:prSet custT="1"/>
      <dgm:spPr/>
      <dgm:t>
        <a:bodyPr/>
        <a:lstStyle/>
        <a:p>
          <a:r>
            <a:rPr lang="ru-RU" sz="1400" dirty="0" smtClean="0"/>
            <a:t>Коммуникации</a:t>
          </a:r>
          <a:endParaRPr lang="ru-RU" sz="1400" dirty="0"/>
        </a:p>
      </dgm:t>
    </dgm:pt>
    <dgm:pt modelId="{6B7AA3F9-2D97-4068-96CC-CB4EC183AD02}" type="parTrans" cxnId="{57BF19C3-408E-4772-8199-32CD9D6AA378}">
      <dgm:prSet/>
      <dgm:spPr/>
      <dgm:t>
        <a:bodyPr/>
        <a:lstStyle/>
        <a:p>
          <a:endParaRPr lang="ru-RU" sz="1400"/>
        </a:p>
      </dgm:t>
    </dgm:pt>
    <dgm:pt modelId="{96476E52-B122-4E04-BD02-A26449861913}" type="sibTrans" cxnId="{57BF19C3-408E-4772-8199-32CD9D6AA378}">
      <dgm:prSet/>
      <dgm:spPr/>
      <dgm:t>
        <a:bodyPr/>
        <a:lstStyle/>
        <a:p>
          <a:endParaRPr lang="ru-RU"/>
        </a:p>
      </dgm:t>
    </dgm:pt>
    <dgm:pt modelId="{C7F71B22-9D8C-4A29-BD0C-F7F973619AED}">
      <dgm:prSet custT="1"/>
      <dgm:spPr/>
      <dgm:t>
        <a:bodyPr/>
        <a:lstStyle/>
        <a:p>
          <a:r>
            <a:rPr lang="ru-RU" sz="1400" dirty="0" smtClean="0"/>
            <a:t>Контроль</a:t>
          </a:r>
          <a:endParaRPr lang="ru-RU" sz="1400" dirty="0"/>
        </a:p>
      </dgm:t>
    </dgm:pt>
    <dgm:pt modelId="{018C095E-367E-4993-AE80-ED74D6CA0504}" type="parTrans" cxnId="{FB165106-185A-419E-B84C-477A3F5C2DD0}">
      <dgm:prSet/>
      <dgm:spPr/>
      <dgm:t>
        <a:bodyPr/>
        <a:lstStyle/>
        <a:p>
          <a:endParaRPr lang="ru-RU" sz="1400"/>
        </a:p>
      </dgm:t>
    </dgm:pt>
    <dgm:pt modelId="{62BAE20A-0D82-402F-9C60-AB908EE608A0}" type="sibTrans" cxnId="{FB165106-185A-419E-B84C-477A3F5C2DD0}">
      <dgm:prSet/>
      <dgm:spPr/>
      <dgm:t>
        <a:bodyPr/>
        <a:lstStyle/>
        <a:p>
          <a:endParaRPr lang="ru-RU"/>
        </a:p>
      </dgm:t>
    </dgm:pt>
    <dgm:pt modelId="{E9B227EC-AA0B-4B77-B50A-10BBCB373727}">
      <dgm:prSet custT="1"/>
      <dgm:spPr/>
      <dgm:t>
        <a:bodyPr/>
        <a:lstStyle/>
        <a:p>
          <a:r>
            <a:rPr lang="ru-RU" sz="1400" dirty="0" smtClean="0"/>
            <a:t>Оценки</a:t>
          </a:r>
          <a:endParaRPr lang="ru-RU" sz="1400" dirty="0"/>
        </a:p>
      </dgm:t>
    </dgm:pt>
    <dgm:pt modelId="{C4A521BE-A237-42AF-81A8-1A024DE39556}" type="parTrans" cxnId="{2B13E0C6-EF6D-4B2E-A195-FB4EE1E8CB2F}">
      <dgm:prSet/>
      <dgm:spPr/>
      <dgm:t>
        <a:bodyPr/>
        <a:lstStyle/>
        <a:p>
          <a:endParaRPr lang="ru-RU" sz="1400"/>
        </a:p>
      </dgm:t>
    </dgm:pt>
    <dgm:pt modelId="{23AEA675-9289-433A-9659-7009008CE6D8}" type="sibTrans" cxnId="{2B13E0C6-EF6D-4B2E-A195-FB4EE1E8CB2F}">
      <dgm:prSet/>
      <dgm:spPr/>
      <dgm:t>
        <a:bodyPr/>
        <a:lstStyle/>
        <a:p>
          <a:endParaRPr lang="ru-RU"/>
        </a:p>
      </dgm:t>
    </dgm:pt>
    <dgm:pt modelId="{2D57E55B-8443-47B3-9028-244705C63ABC}">
      <dgm:prSet custT="1"/>
      <dgm:spPr/>
      <dgm:t>
        <a:bodyPr/>
        <a:lstStyle/>
        <a:p>
          <a:r>
            <a:rPr lang="ru-RU" sz="1400" baseline="0" dirty="0" smtClean="0"/>
            <a:t>Финансирование</a:t>
          </a:r>
          <a:endParaRPr lang="ru-RU" sz="1400" baseline="0" dirty="0"/>
        </a:p>
      </dgm:t>
    </dgm:pt>
    <dgm:pt modelId="{80BAF3F4-E49A-4FDD-9BE2-69AD9CA559A9}" type="parTrans" cxnId="{CB96B452-DB99-49AE-A1B7-6840B28B9EF0}">
      <dgm:prSet/>
      <dgm:spPr/>
      <dgm:t>
        <a:bodyPr/>
        <a:lstStyle/>
        <a:p>
          <a:endParaRPr lang="ru-RU" sz="1400"/>
        </a:p>
      </dgm:t>
    </dgm:pt>
    <dgm:pt modelId="{843EF05D-B47F-4385-8E4A-254E6934348B}" type="sibTrans" cxnId="{CB96B452-DB99-49AE-A1B7-6840B28B9EF0}">
      <dgm:prSet/>
      <dgm:spPr/>
      <dgm:t>
        <a:bodyPr/>
        <a:lstStyle/>
        <a:p>
          <a:endParaRPr lang="ru-RU"/>
        </a:p>
      </dgm:t>
    </dgm:pt>
    <dgm:pt modelId="{EFA7B233-F5E7-4D27-9643-76C0B9A5F510}">
      <dgm:prSet custT="1"/>
      <dgm:spPr/>
      <dgm:t>
        <a:bodyPr/>
        <a:lstStyle/>
        <a:p>
          <a:r>
            <a:rPr lang="ru-RU" sz="1400" dirty="0" smtClean="0"/>
            <a:t>Ресурсы</a:t>
          </a:r>
          <a:endParaRPr lang="ru-RU" sz="1400" dirty="0"/>
        </a:p>
      </dgm:t>
    </dgm:pt>
    <dgm:pt modelId="{EF50618F-9733-479D-9E63-BD43CD32EEDD}" type="parTrans" cxnId="{70F2E677-72D1-4ED2-BD7D-82BB32CFF867}">
      <dgm:prSet/>
      <dgm:spPr/>
      <dgm:t>
        <a:bodyPr/>
        <a:lstStyle/>
        <a:p>
          <a:endParaRPr lang="ru-RU" sz="1400"/>
        </a:p>
      </dgm:t>
    </dgm:pt>
    <dgm:pt modelId="{DC9F9E91-8AC0-4776-B7F2-6E7AC48C65C7}" type="sibTrans" cxnId="{70F2E677-72D1-4ED2-BD7D-82BB32CFF867}">
      <dgm:prSet/>
      <dgm:spPr/>
      <dgm:t>
        <a:bodyPr/>
        <a:lstStyle/>
        <a:p>
          <a:endParaRPr lang="ru-RU"/>
        </a:p>
      </dgm:t>
    </dgm:pt>
    <dgm:pt modelId="{3E61546F-D50A-4491-93B4-C545DFF181C4}">
      <dgm:prSet custT="1"/>
      <dgm:spPr/>
      <dgm:t>
        <a:bodyPr/>
        <a:lstStyle/>
        <a:p>
          <a:r>
            <a:rPr lang="ru-RU" sz="1400" dirty="0" smtClean="0"/>
            <a:t>Процедурное участие</a:t>
          </a:r>
          <a:endParaRPr lang="ru-RU" sz="1400" dirty="0"/>
        </a:p>
      </dgm:t>
    </dgm:pt>
    <dgm:pt modelId="{E3695BC5-4CAA-403C-9D26-2400FE60737D}" type="parTrans" cxnId="{F21FE621-7F37-4DF5-A1C9-5FAF6E75C809}">
      <dgm:prSet/>
      <dgm:spPr/>
      <dgm:t>
        <a:bodyPr/>
        <a:lstStyle/>
        <a:p>
          <a:endParaRPr lang="ru-RU" sz="1400"/>
        </a:p>
      </dgm:t>
    </dgm:pt>
    <dgm:pt modelId="{CB68602C-F838-461F-832F-C6D6B6CA02FD}" type="sibTrans" cxnId="{F21FE621-7F37-4DF5-A1C9-5FAF6E75C809}">
      <dgm:prSet/>
      <dgm:spPr/>
      <dgm:t>
        <a:bodyPr/>
        <a:lstStyle/>
        <a:p>
          <a:endParaRPr lang="ru-RU"/>
        </a:p>
      </dgm:t>
    </dgm:pt>
    <dgm:pt modelId="{9CDED757-6D07-4A8D-B79E-29E503DE2B0F}">
      <dgm:prSet custT="1"/>
      <dgm:spPr/>
      <dgm:t>
        <a:bodyPr/>
        <a:lstStyle/>
        <a:p>
          <a:r>
            <a:rPr lang="ru-RU" sz="1400" dirty="0" smtClean="0"/>
            <a:t>Требования к стандартам</a:t>
          </a:r>
          <a:endParaRPr lang="ru-RU" sz="1400" dirty="0"/>
        </a:p>
      </dgm:t>
    </dgm:pt>
    <dgm:pt modelId="{968311DE-8DAE-4123-B866-02E8AE79C73D}" type="parTrans" cxnId="{3D1EA542-4273-4940-B541-DFB433B2A1F8}">
      <dgm:prSet/>
      <dgm:spPr/>
      <dgm:t>
        <a:bodyPr/>
        <a:lstStyle/>
        <a:p>
          <a:endParaRPr lang="ru-RU" sz="1400"/>
        </a:p>
      </dgm:t>
    </dgm:pt>
    <dgm:pt modelId="{9994C4BB-FC40-4DC5-AE5C-789C1522CAD8}" type="sibTrans" cxnId="{3D1EA542-4273-4940-B541-DFB433B2A1F8}">
      <dgm:prSet/>
      <dgm:spPr/>
      <dgm:t>
        <a:bodyPr/>
        <a:lstStyle/>
        <a:p>
          <a:endParaRPr lang="ru-RU"/>
        </a:p>
      </dgm:t>
    </dgm:pt>
    <dgm:pt modelId="{0ED77D9C-021B-4583-83C3-163269B142CA}">
      <dgm:prSet custT="1"/>
      <dgm:spPr/>
      <dgm:t>
        <a:bodyPr/>
        <a:lstStyle/>
        <a:p>
          <a:r>
            <a:rPr lang="ru-RU" sz="1400" dirty="0" smtClean="0"/>
            <a:t>Система качества</a:t>
          </a:r>
          <a:endParaRPr lang="ru-RU" sz="1400" dirty="0"/>
        </a:p>
      </dgm:t>
    </dgm:pt>
    <dgm:pt modelId="{F64B1AB1-1276-4358-8466-779F252D4B50}" type="parTrans" cxnId="{9938B67B-0AD8-4C4C-9FCC-5FCEE36F083E}">
      <dgm:prSet/>
      <dgm:spPr/>
      <dgm:t>
        <a:bodyPr/>
        <a:lstStyle/>
        <a:p>
          <a:endParaRPr lang="ru-RU" sz="1400"/>
        </a:p>
      </dgm:t>
    </dgm:pt>
    <dgm:pt modelId="{4DF2652C-1808-49AB-A935-9730559C0CD6}" type="sibTrans" cxnId="{9938B67B-0AD8-4C4C-9FCC-5FCEE36F083E}">
      <dgm:prSet/>
      <dgm:spPr/>
      <dgm:t>
        <a:bodyPr/>
        <a:lstStyle/>
        <a:p>
          <a:endParaRPr lang="ru-RU"/>
        </a:p>
      </dgm:t>
    </dgm:pt>
    <dgm:pt modelId="{1C638F75-D386-4F4F-9E8C-148E4CB68704}" type="pres">
      <dgm:prSet presAssocID="{BCC5B6BD-0FDD-44BE-AA95-FF88590F2417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FF9C34BC-C4D8-4D5D-B3A1-3A04C16E8B5D}" type="pres">
      <dgm:prSet presAssocID="{C0CE6DA0-2CB3-406F-BDC2-CA84F5A1DE98}" presName="hierRoot1" presStyleCnt="0">
        <dgm:presLayoutVars>
          <dgm:hierBranch val="init"/>
        </dgm:presLayoutVars>
      </dgm:prSet>
      <dgm:spPr/>
    </dgm:pt>
    <dgm:pt modelId="{F0072B6C-90FB-4989-A12E-43C5E613D759}" type="pres">
      <dgm:prSet presAssocID="{C0CE6DA0-2CB3-406F-BDC2-CA84F5A1DE98}" presName="rootComposite1" presStyleCnt="0"/>
      <dgm:spPr/>
    </dgm:pt>
    <dgm:pt modelId="{D5286B5E-2D83-44FA-A7E4-BDAA13A1786D}" type="pres">
      <dgm:prSet presAssocID="{C0CE6DA0-2CB3-406F-BDC2-CA84F5A1DE98}" presName="rootText1" presStyleLbl="node0" presStyleIdx="0" presStyleCnt="1" custScaleX="337004" custScaleY="12240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BC1EEAB-127B-4DB1-84BE-541A7F9F2995}" type="pres">
      <dgm:prSet presAssocID="{C0CE6DA0-2CB3-406F-BDC2-CA84F5A1DE98}" presName="rootConnector1" presStyleLbl="node1" presStyleIdx="0" presStyleCnt="0"/>
      <dgm:spPr/>
      <dgm:t>
        <a:bodyPr/>
        <a:lstStyle/>
        <a:p>
          <a:endParaRPr lang="ru-RU"/>
        </a:p>
      </dgm:t>
    </dgm:pt>
    <dgm:pt modelId="{F3EB92F9-1BF2-4696-9EFB-4CD70627A04C}" type="pres">
      <dgm:prSet presAssocID="{C0CE6DA0-2CB3-406F-BDC2-CA84F5A1DE98}" presName="hierChild2" presStyleCnt="0"/>
      <dgm:spPr/>
    </dgm:pt>
    <dgm:pt modelId="{BDA66AC2-AF82-41AA-8BB0-A6E443846438}" type="pres">
      <dgm:prSet presAssocID="{6AD19CAF-48F2-4FB2-8CBC-35F6FF208D5F}" presName="Name37" presStyleLbl="parChTrans1D2" presStyleIdx="0" presStyleCnt="2"/>
      <dgm:spPr/>
      <dgm:t>
        <a:bodyPr/>
        <a:lstStyle/>
        <a:p>
          <a:endParaRPr lang="ru-RU"/>
        </a:p>
      </dgm:t>
    </dgm:pt>
    <dgm:pt modelId="{F171921C-066B-46D3-B7B0-6C3587C25E01}" type="pres">
      <dgm:prSet presAssocID="{1F5DBD33-D1B0-499B-A8E5-0E95F1B7BC0E}" presName="hierRoot2" presStyleCnt="0">
        <dgm:presLayoutVars>
          <dgm:hierBranch val="init"/>
        </dgm:presLayoutVars>
      </dgm:prSet>
      <dgm:spPr/>
    </dgm:pt>
    <dgm:pt modelId="{07BE237C-1A0E-4426-A6F4-849887C2FBFF}" type="pres">
      <dgm:prSet presAssocID="{1F5DBD33-D1B0-499B-A8E5-0E95F1B7BC0E}" presName="rootComposite" presStyleCnt="0"/>
      <dgm:spPr/>
    </dgm:pt>
    <dgm:pt modelId="{03A80AEC-63EA-404D-89ED-AC68FEF3FBD3}" type="pres">
      <dgm:prSet presAssocID="{1F5DBD33-D1B0-499B-A8E5-0E95F1B7BC0E}" presName="rootText" presStyleLbl="node2" presStyleIdx="0" presStyleCnt="2" custScaleX="213098" custScaleY="166111" custLinFactX="-84243" custLinFactNeighborX="-100000" custLinFactNeighborY="-92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6B557BF-BBEF-42A5-BCC6-05472C2D5069}" type="pres">
      <dgm:prSet presAssocID="{1F5DBD33-D1B0-499B-A8E5-0E95F1B7BC0E}" presName="rootConnector" presStyleLbl="node2" presStyleIdx="0" presStyleCnt="2"/>
      <dgm:spPr/>
      <dgm:t>
        <a:bodyPr/>
        <a:lstStyle/>
        <a:p>
          <a:endParaRPr lang="ru-RU"/>
        </a:p>
      </dgm:t>
    </dgm:pt>
    <dgm:pt modelId="{243889EF-C58B-4EF6-BD37-7C2DA8F0C50E}" type="pres">
      <dgm:prSet presAssocID="{1F5DBD33-D1B0-499B-A8E5-0E95F1B7BC0E}" presName="hierChild4" presStyleCnt="0"/>
      <dgm:spPr/>
    </dgm:pt>
    <dgm:pt modelId="{AC0AC4F6-3E10-43D6-B599-A536C172E41C}" type="pres">
      <dgm:prSet presAssocID="{A7F6DC70-9486-4436-9F87-7FBBBB25BB01}" presName="Name37" presStyleLbl="parChTrans1D3" presStyleIdx="0" presStyleCnt="12"/>
      <dgm:spPr/>
      <dgm:t>
        <a:bodyPr/>
        <a:lstStyle/>
        <a:p>
          <a:endParaRPr lang="ru-RU"/>
        </a:p>
      </dgm:t>
    </dgm:pt>
    <dgm:pt modelId="{5DC0DCD0-D3D0-41C2-B3EF-FB64A2A48C7B}" type="pres">
      <dgm:prSet presAssocID="{FFBD3478-F84B-4311-AB6D-D837DCAE78E8}" presName="hierRoot2" presStyleCnt="0">
        <dgm:presLayoutVars>
          <dgm:hierBranch val="init"/>
        </dgm:presLayoutVars>
      </dgm:prSet>
      <dgm:spPr/>
    </dgm:pt>
    <dgm:pt modelId="{9E8AD2F3-CC4B-4AB0-BD1C-A560940C626F}" type="pres">
      <dgm:prSet presAssocID="{FFBD3478-F84B-4311-AB6D-D837DCAE78E8}" presName="rootComposite" presStyleCnt="0"/>
      <dgm:spPr/>
    </dgm:pt>
    <dgm:pt modelId="{853273EE-F5BA-4750-BE0E-3A41065B667F}" type="pres">
      <dgm:prSet presAssocID="{FFBD3478-F84B-4311-AB6D-D837DCAE78E8}" presName="rootText" presStyleLbl="node3" presStyleIdx="0" presStyleCnt="12" custScaleX="155613" custScaleY="133199" custLinFactX="-64036" custLinFactNeighborX="-100000" custLinFactNeighborY="1551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84B93AC3-CFE7-4E52-832B-F406DE10BABD}" type="pres">
      <dgm:prSet presAssocID="{FFBD3478-F84B-4311-AB6D-D837DCAE78E8}" presName="rootConnector" presStyleLbl="node3" presStyleIdx="0" presStyleCnt="12"/>
      <dgm:spPr/>
      <dgm:t>
        <a:bodyPr/>
        <a:lstStyle/>
        <a:p>
          <a:endParaRPr lang="ru-RU"/>
        </a:p>
      </dgm:t>
    </dgm:pt>
    <dgm:pt modelId="{2749FE92-4DD3-48C5-8EDF-F156A56AA4A0}" type="pres">
      <dgm:prSet presAssocID="{FFBD3478-F84B-4311-AB6D-D837DCAE78E8}" presName="hierChild4" presStyleCnt="0"/>
      <dgm:spPr/>
    </dgm:pt>
    <dgm:pt modelId="{BE4598B4-DB1A-4E86-9979-DE62B3D15D18}" type="pres">
      <dgm:prSet presAssocID="{FFBD3478-F84B-4311-AB6D-D837DCAE78E8}" presName="hierChild5" presStyleCnt="0"/>
      <dgm:spPr/>
    </dgm:pt>
    <dgm:pt modelId="{3A6128EF-1F9E-4F4D-8A81-8B799C02C646}" type="pres">
      <dgm:prSet presAssocID="{49C9AFBA-13B9-4109-B80C-829FC5636C35}" presName="Name37" presStyleLbl="parChTrans1D3" presStyleIdx="1" presStyleCnt="12"/>
      <dgm:spPr/>
      <dgm:t>
        <a:bodyPr/>
        <a:lstStyle/>
        <a:p>
          <a:endParaRPr lang="ru-RU"/>
        </a:p>
      </dgm:t>
    </dgm:pt>
    <dgm:pt modelId="{8B2F96C9-FB66-4DC9-A089-5F9712035D1D}" type="pres">
      <dgm:prSet presAssocID="{0A12F72F-06B3-4F1C-ADAB-09A97F0616DE}" presName="hierRoot2" presStyleCnt="0">
        <dgm:presLayoutVars>
          <dgm:hierBranch val="init"/>
        </dgm:presLayoutVars>
      </dgm:prSet>
      <dgm:spPr/>
    </dgm:pt>
    <dgm:pt modelId="{211DACB1-47DE-45C5-8933-F1DA3B976618}" type="pres">
      <dgm:prSet presAssocID="{0A12F72F-06B3-4F1C-ADAB-09A97F0616DE}" presName="rootComposite" presStyleCnt="0"/>
      <dgm:spPr/>
    </dgm:pt>
    <dgm:pt modelId="{CA64100C-FCAF-4C64-A57D-350718A5DFC1}" type="pres">
      <dgm:prSet presAssocID="{0A12F72F-06B3-4F1C-ADAB-09A97F0616DE}" presName="rootText" presStyleLbl="node3" presStyleIdx="1" presStyleCnt="12" custScaleX="271781" custScaleY="175673" custLinFactX="-204066" custLinFactNeighborX="-300000" custLinFactNeighborY="95876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8EE4DC8-900B-4F3A-8254-43BADD74B8CB}" type="pres">
      <dgm:prSet presAssocID="{0A12F72F-06B3-4F1C-ADAB-09A97F0616DE}" presName="rootConnector" presStyleLbl="node3" presStyleIdx="1" presStyleCnt="12"/>
      <dgm:spPr/>
      <dgm:t>
        <a:bodyPr/>
        <a:lstStyle/>
        <a:p>
          <a:endParaRPr lang="ru-RU"/>
        </a:p>
      </dgm:t>
    </dgm:pt>
    <dgm:pt modelId="{85198A15-3D2E-443B-9573-7B8902990CDB}" type="pres">
      <dgm:prSet presAssocID="{0A12F72F-06B3-4F1C-ADAB-09A97F0616DE}" presName="hierChild4" presStyleCnt="0"/>
      <dgm:spPr/>
    </dgm:pt>
    <dgm:pt modelId="{D9181543-D403-4550-B2D7-E91592F6AC84}" type="pres">
      <dgm:prSet presAssocID="{0A12F72F-06B3-4F1C-ADAB-09A97F0616DE}" presName="hierChild5" presStyleCnt="0"/>
      <dgm:spPr/>
    </dgm:pt>
    <dgm:pt modelId="{5CF8CF4F-6D14-4AF1-A691-F2B4F6E1E9AA}" type="pres">
      <dgm:prSet presAssocID="{CDBDF033-DB69-4D07-9C5F-3EE75E61E973}" presName="Name37" presStyleLbl="parChTrans1D3" presStyleIdx="2" presStyleCnt="12"/>
      <dgm:spPr/>
      <dgm:t>
        <a:bodyPr/>
        <a:lstStyle/>
        <a:p>
          <a:endParaRPr lang="ru-RU"/>
        </a:p>
      </dgm:t>
    </dgm:pt>
    <dgm:pt modelId="{B8CFC23E-BCDF-4705-9FE1-1CF2C5C74D96}" type="pres">
      <dgm:prSet presAssocID="{36ABF481-84E2-4E7F-A1AE-7C482F40B6AC}" presName="hierRoot2" presStyleCnt="0">
        <dgm:presLayoutVars>
          <dgm:hierBranch val="init"/>
        </dgm:presLayoutVars>
      </dgm:prSet>
      <dgm:spPr/>
    </dgm:pt>
    <dgm:pt modelId="{05AADCFB-2A01-47FB-9E11-1E00362843CB}" type="pres">
      <dgm:prSet presAssocID="{36ABF481-84E2-4E7F-A1AE-7C482F40B6AC}" presName="rootComposite" presStyleCnt="0"/>
      <dgm:spPr/>
    </dgm:pt>
    <dgm:pt modelId="{39351BEF-EE2D-489A-825B-9F228110664E}" type="pres">
      <dgm:prSet presAssocID="{36ABF481-84E2-4E7F-A1AE-7C482F40B6AC}" presName="rootText" presStyleLbl="node3" presStyleIdx="2" presStyleCnt="12" custScaleX="284968" custScaleY="198175" custLinFactX="-76466" custLinFactY="-82597" custLinFactNeighborX="-100000" custLinFactNeighborY="-10000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217C202-F47B-4C38-B748-54203D5D4CA2}" type="pres">
      <dgm:prSet presAssocID="{36ABF481-84E2-4E7F-A1AE-7C482F40B6AC}" presName="rootConnector" presStyleLbl="node3" presStyleIdx="2" presStyleCnt="12"/>
      <dgm:spPr/>
      <dgm:t>
        <a:bodyPr/>
        <a:lstStyle/>
        <a:p>
          <a:endParaRPr lang="ru-RU"/>
        </a:p>
      </dgm:t>
    </dgm:pt>
    <dgm:pt modelId="{99543AC3-7F3B-4D3D-AE03-1DC74F88B320}" type="pres">
      <dgm:prSet presAssocID="{36ABF481-84E2-4E7F-A1AE-7C482F40B6AC}" presName="hierChild4" presStyleCnt="0"/>
      <dgm:spPr/>
    </dgm:pt>
    <dgm:pt modelId="{CF8964FD-26D3-4783-A056-E1C6C796806B}" type="pres">
      <dgm:prSet presAssocID="{36ABF481-84E2-4E7F-A1AE-7C482F40B6AC}" presName="hierChild5" presStyleCnt="0"/>
      <dgm:spPr/>
    </dgm:pt>
    <dgm:pt modelId="{995C0620-57B5-49D4-B5B1-464F2E5111CB}" type="pres">
      <dgm:prSet presAssocID="{3B6F0EBF-0412-470F-A18F-D699B1E24225}" presName="Name37" presStyleLbl="parChTrans1D3" presStyleIdx="3" presStyleCnt="12"/>
      <dgm:spPr/>
      <dgm:t>
        <a:bodyPr/>
        <a:lstStyle/>
        <a:p>
          <a:endParaRPr lang="ru-RU"/>
        </a:p>
      </dgm:t>
    </dgm:pt>
    <dgm:pt modelId="{5E5275B6-1D33-4A68-9AA6-34FE757A0FB7}" type="pres">
      <dgm:prSet presAssocID="{A536DF82-EE42-495A-8BC9-2FE54F4CD6BA}" presName="hierRoot2" presStyleCnt="0">
        <dgm:presLayoutVars>
          <dgm:hierBranch val="init"/>
        </dgm:presLayoutVars>
      </dgm:prSet>
      <dgm:spPr/>
    </dgm:pt>
    <dgm:pt modelId="{8A433750-CC8C-495B-8298-63540AE8082A}" type="pres">
      <dgm:prSet presAssocID="{A536DF82-EE42-495A-8BC9-2FE54F4CD6BA}" presName="rootComposite" presStyleCnt="0"/>
      <dgm:spPr/>
    </dgm:pt>
    <dgm:pt modelId="{7A142F68-1203-47DD-A907-62D4368696B1}" type="pres">
      <dgm:prSet presAssocID="{A536DF82-EE42-495A-8BC9-2FE54F4CD6BA}" presName="rootText" presStyleLbl="node3" presStyleIdx="3" presStyleCnt="12" custScaleX="207923" custScaleY="170873" custLinFactX="-200000" custLinFactY="-300000" custLinFactNeighborX="-265131" custLinFactNeighborY="-30839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0715D6DD-DA84-49C3-B3F5-721A39108A68}" type="pres">
      <dgm:prSet presAssocID="{A536DF82-EE42-495A-8BC9-2FE54F4CD6BA}" presName="rootConnector" presStyleLbl="node3" presStyleIdx="3" presStyleCnt="12"/>
      <dgm:spPr/>
      <dgm:t>
        <a:bodyPr/>
        <a:lstStyle/>
        <a:p>
          <a:endParaRPr lang="ru-RU"/>
        </a:p>
      </dgm:t>
    </dgm:pt>
    <dgm:pt modelId="{9EA95D65-0521-4C2D-B72D-0A70CCE1D6EE}" type="pres">
      <dgm:prSet presAssocID="{A536DF82-EE42-495A-8BC9-2FE54F4CD6BA}" presName="hierChild4" presStyleCnt="0"/>
      <dgm:spPr/>
    </dgm:pt>
    <dgm:pt modelId="{C1BDE980-8CF1-4C38-AC4B-96CAF88B6280}" type="pres">
      <dgm:prSet presAssocID="{A536DF82-EE42-495A-8BC9-2FE54F4CD6BA}" presName="hierChild5" presStyleCnt="0"/>
      <dgm:spPr/>
    </dgm:pt>
    <dgm:pt modelId="{7FF2FFE1-DD76-4FF5-ACAA-70127B36A9D7}" type="pres">
      <dgm:prSet presAssocID="{1F5DBD33-D1B0-499B-A8E5-0E95F1B7BC0E}" presName="hierChild5" presStyleCnt="0"/>
      <dgm:spPr/>
    </dgm:pt>
    <dgm:pt modelId="{12996719-4865-4ED0-99DC-3AA4D20193A2}" type="pres">
      <dgm:prSet presAssocID="{5256A4B6-040D-4117-9F23-2AB8212F0916}" presName="Name37" presStyleLbl="parChTrans1D2" presStyleIdx="1" presStyleCnt="2"/>
      <dgm:spPr/>
      <dgm:t>
        <a:bodyPr/>
        <a:lstStyle/>
        <a:p>
          <a:endParaRPr lang="ru-RU"/>
        </a:p>
      </dgm:t>
    </dgm:pt>
    <dgm:pt modelId="{934CE930-6208-4C67-857B-55081EC1B2B5}" type="pres">
      <dgm:prSet presAssocID="{A176B158-7A98-4C07-965D-69A6E903E0AB}" presName="hierRoot2" presStyleCnt="0">
        <dgm:presLayoutVars>
          <dgm:hierBranch val="init"/>
        </dgm:presLayoutVars>
      </dgm:prSet>
      <dgm:spPr/>
    </dgm:pt>
    <dgm:pt modelId="{FC8FC8A4-DC98-42BB-986D-0D31EA13A356}" type="pres">
      <dgm:prSet presAssocID="{A176B158-7A98-4C07-965D-69A6E903E0AB}" presName="rootComposite" presStyleCnt="0"/>
      <dgm:spPr/>
    </dgm:pt>
    <dgm:pt modelId="{0A82C679-9E5A-470A-8EFD-62AC9446E439}" type="pres">
      <dgm:prSet presAssocID="{A176B158-7A98-4C07-965D-69A6E903E0AB}" presName="rootText" presStyleLbl="node2" presStyleIdx="1" presStyleCnt="2" custScaleX="287794" custScaleY="170851" custLinFactX="6179" custLinFactNeighborX="100000" custLinFactNeighborY="-23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D149CC2-D645-4764-8BFA-D0071A33F6B3}" type="pres">
      <dgm:prSet presAssocID="{A176B158-7A98-4C07-965D-69A6E903E0AB}" presName="rootConnector" presStyleLbl="node2" presStyleIdx="1" presStyleCnt="2"/>
      <dgm:spPr/>
      <dgm:t>
        <a:bodyPr/>
        <a:lstStyle/>
        <a:p>
          <a:endParaRPr lang="ru-RU"/>
        </a:p>
      </dgm:t>
    </dgm:pt>
    <dgm:pt modelId="{5DE83C9D-7DBB-4B5A-9970-A8C9A9EEE792}" type="pres">
      <dgm:prSet presAssocID="{A176B158-7A98-4C07-965D-69A6E903E0AB}" presName="hierChild4" presStyleCnt="0"/>
      <dgm:spPr/>
    </dgm:pt>
    <dgm:pt modelId="{CB306A02-B401-4768-BF18-4D2C75246F9B}" type="pres">
      <dgm:prSet presAssocID="{6B7AA3F9-2D97-4068-96CC-CB4EC183AD02}" presName="Name37" presStyleLbl="parChTrans1D3" presStyleIdx="4" presStyleCnt="12"/>
      <dgm:spPr/>
      <dgm:t>
        <a:bodyPr/>
        <a:lstStyle/>
        <a:p>
          <a:endParaRPr lang="ru-RU"/>
        </a:p>
      </dgm:t>
    </dgm:pt>
    <dgm:pt modelId="{D51EEEEB-CB84-4213-8AEA-D9D76DE6F8DC}" type="pres">
      <dgm:prSet presAssocID="{B1F247AE-A22C-4ABC-8543-D5C6669D0841}" presName="hierRoot2" presStyleCnt="0">
        <dgm:presLayoutVars>
          <dgm:hierBranch val="init"/>
        </dgm:presLayoutVars>
      </dgm:prSet>
      <dgm:spPr/>
    </dgm:pt>
    <dgm:pt modelId="{1CCB653C-5787-4B17-A2C6-879968CAE07F}" type="pres">
      <dgm:prSet presAssocID="{B1F247AE-A22C-4ABC-8543-D5C6669D0841}" presName="rootComposite" presStyleCnt="0"/>
      <dgm:spPr/>
    </dgm:pt>
    <dgm:pt modelId="{E2BBB827-A8F3-4492-BEB9-474F8DBECC77}" type="pres">
      <dgm:prSet presAssocID="{B1F247AE-A22C-4ABC-8543-D5C6669D0841}" presName="rootText" presStyleLbl="node3" presStyleIdx="4" presStyleCnt="12" custScaleX="256815" custScaleY="121689" custLinFactX="16013" custLinFactY="200000" custLinFactNeighborX="100000" custLinFactNeighborY="27984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CF9D9A4-95B3-437B-8F59-B1F785D2A225}" type="pres">
      <dgm:prSet presAssocID="{B1F247AE-A22C-4ABC-8543-D5C6669D0841}" presName="rootConnector" presStyleLbl="node3" presStyleIdx="4" presStyleCnt="12"/>
      <dgm:spPr/>
      <dgm:t>
        <a:bodyPr/>
        <a:lstStyle/>
        <a:p>
          <a:endParaRPr lang="ru-RU"/>
        </a:p>
      </dgm:t>
    </dgm:pt>
    <dgm:pt modelId="{C31E464F-9AE1-419C-8486-AFB7B56281A5}" type="pres">
      <dgm:prSet presAssocID="{B1F247AE-A22C-4ABC-8543-D5C6669D0841}" presName="hierChild4" presStyleCnt="0"/>
      <dgm:spPr/>
    </dgm:pt>
    <dgm:pt modelId="{92B61419-8AFD-4FA1-8E75-869A3A7AAF21}" type="pres">
      <dgm:prSet presAssocID="{B1F247AE-A22C-4ABC-8543-D5C6669D0841}" presName="hierChild5" presStyleCnt="0"/>
      <dgm:spPr/>
    </dgm:pt>
    <dgm:pt modelId="{9E1404F1-F1FF-4AC0-BE41-783CB2770D67}" type="pres">
      <dgm:prSet presAssocID="{018C095E-367E-4993-AE80-ED74D6CA0504}" presName="Name37" presStyleLbl="parChTrans1D3" presStyleIdx="5" presStyleCnt="12"/>
      <dgm:spPr/>
      <dgm:t>
        <a:bodyPr/>
        <a:lstStyle/>
        <a:p>
          <a:endParaRPr lang="ru-RU"/>
        </a:p>
      </dgm:t>
    </dgm:pt>
    <dgm:pt modelId="{983A13A2-7EE6-4F33-9B37-4785DA8FC441}" type="pres">
      <dgm:prSet presAssocID="{C7F71B22-9D8C-4A29-BD0C-F7F973619AED}" presName="hierRoot2" presStyleCnt="0">
        <dgm:presLayoutVars>
          <dgm:hierBranch val="init"/>
        </dgm:presLayoutVars>
      </dgm:prSet>
      <dgm:spPr/>
    </dgm:pt>
    <dgm:pt modelId="{5CEEC2ED-8F31-4363-9637-5ACFF4107827}" type="pres">
      <dgm:prSet presAssocID="{C7F71B22-9D8C-4A29-BD0C-F7F973619AED}" presName="rootComposite" presStyleCnt="0"/>
      <dgm:spPr/>
    </dgm:pt>
    <dgm:pt modelId="{C26110A6-2E7C-4529-940C-BF74785AE43C}" type="pres">
      <dgm:prSet presAssocID="{C7F71B22-9D8C-4A29-BD0C-F7F973619AED}" presName="rootText" presStyleLbl="node3" presStyleIdx="5" presStyleCnt="12" custScaleX="180111" custScaleY="122599" custLinFactX="-35357" custLinFactY="114446" custLinFactNeighborX="-100000" custLinFactNeighborY="20000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5D4C192-0D32-4BBD-9A25-FE7684013ACC}" type="pres">
      <dgm:prSet presAssocID="{C7F71B22-9D8C-4A29-BD0C-F7F973619AED}" presName="rootConnector" presStyleLbl="node3" presStyleIdx="5" presStyleCnt="12"/>
      <dgm:spPr/>
      <dgm:t>
        <a:bodyPr/>
        <a:lstStyle/>
        <a:p>
          <a:endParaRPr lang="ru-RU"/>
        </a:p>
      </dgm:t>
    </dgm:pt>
    <dgm:pt modelId="{643337B4-53F8-49D5-A948-11B927A247F4}" type="pres">
      <dgm:prSet presAssocID="{C7F71B22-9D8C-4A29-BD0C-F7F973619AED}" presName="hierChild4" presStyleCnt="0"/>
      <dgm:spPr/>
    </dgm:pt>
    <dgm:pt modelId="{A0F85A96-B972-47BC-9DB9-129B816B1FE6}" type="pres">
      <dgm:prSet presAssocID="{C7F71B22-9D8C-4A29-BD0C-F7F973619AED}" presName="hierChild5" presStyleCnt="0"/>
      <dgm:spPr/>
    </dgm:pt>
    <dgm:pt modelId="{572DDEF9-2C8B-4D54-998B-15FAD3DD85C0}" type="pres">
      <dgm:prSet presAssocID="{C4A521BE-A237-42AF-81A8-1A024DE39556}" presName="Name37" presStyleLbl="parChTrans1D3" presStyleIdx="6" presStyleCnt="12"/>
      <dgm:spPr/>
      <dgm:t>
        <a:bodyPr/>
        <a:lstStyle/>
        <a:p>
          <a:endParaRPr lang="ru-RU"/>
        </a:p>
      </dgm:t>
    </dgm:pt>
    <dgm:pt modelId="{5EFE0867-C9C9-4668-82A1-5B072AF9118C}" type="pres">
      <dgm:prSet presAssocID="{E9B227EC-AA0B-4B77-B50A-10BBCB373727}" presName="hierRoot2" presStyleCnt="0">
        <dgm:presLayoutVars>
          <dgm:hierBranch val="init"/>
        </dgm:presLayoutVars>
      </dgm:prSet>
      <dgm:spPr/>
    </dgm:pt>
    <dgm:pt modelId="{B1CD8494-E1E2-476B-95AC-7DCA56FE7CFC}" type="pres">
      <dgm:prSet presAssocID="{E9B227EC-AA0B-4B77-B50A-10BBCB373727}" presName="rootComposite" presStyleCnt="0"/>
      <dgm:spPr/>
    </dgm:pt>
    <dgm:pt modelId="{8B4215AC-5A34-4CEB-B75A-BD7E237422C5}" type="pres">
      <dgm:prSet presAssocID="{E9B227EC-AA0B-4B77-B50A-10BBCB373727}" presName="rootText" presStyleLbl="node3" presStyleIdx="6" presStyleCnt="12" custScaleX="170940" custScaleY="121709" custLinFactX="-30772" custLinFactY="-100000" custLinFactNeighborX="-100000" custLinFactNeighborY="-112946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218F61C-07EE-42AF-B753-673D0646C0AF}" type="pres">
      <dgm:prSet presAssocID="{E9B227EC-AA0B-4B77-B50A-10BBCB373727}" presName="rootConnector" presStyleLbl="node3" presStyleIdx="6" presStyleCnt="12"/>
      <dgm:spPr/>
      <dgm:t>
        <a:bodyPr/>
        <a:lstStyle/>
        <a:p>
          <a:endParaRPr lang="ru-RU"/>
        </a:p>
      </dgm:t>
    </dgm:pt>
    <dgm:pt modelId="{9CC29E77-53DA-4D9A-96DE-F7753D9B8D94}" type="pres">
      <dgm:prSet presAssocID="{E9B227EC-AA0B-4B77-B50A-10BBCB373727}" presName="hierChild4" presStyleCnt="0"/>
      <dgm:spPr/>
    </dgm:pt>
    <dgm:pt modelId="{04639D8C-DB3C-4DEF-B6EA-3978FBC41656}" type="pres">
      <dgm:prSet presAssocID="{E9B227EC-AA0B-4B77-B50A-10BBCB373727}" presName="hierChild5" presStyleCnt="0"/>
      <dgm:spPr/>
    </dgm:pt>
    <dgm:pt modelId="{6CA9DFE1-8853-4B34-96A6-8A02642C4EB6}" type="pres">
      <dgm:prSet presAssocID="{80BAF3F4-E49A-4FDD-9BE2-69AD9CA559A9}" presName="Name37" presStyleLbl="parChTrans1D3" presStyleIdx="7" presStyleCnt="12"/>
      <dgm:spPr/>
    </dgm:pt>
    <dgm:pt modelId="{11421CA8-D4FE-49F1-B069-8F36E100C518}" type="pres">
      <dgm:prSet presAssocID="{2D57E55B-8443-47B3-9028-244705C63ABC}" presName="hierRoot2" presStyleCnt="0">
        <dgm:presLayoutVars>
          <dgm:hierBranch val="init"/>
        </dgm:presLayoutVars>
      </dgm:prSet>
      <dgm:spPr/>
    </dgm:pt>
    <dgm:pt modelId="{E43423CF-0B0F-47C1-800A-38177DBBD3BF}" type="pres">
      <dgm:prSet presAssocID="{2D57E55B-8443-47B3-9028-244705C63ABC}" presName="rootComposite" presStyleCnt="0"/>
      <dgm:spPr/>
    </dgm:pt>
    <dgm:pt modelId="{C09BD7AB-F1B5-472F-9C34-7E998F287E98}" type="pres">
      <dgm:prSet presAssocID="{2D57E55B-8443-47B3-9028-244705C63ABC}" presName="rootText" presStyleLbl="node3" presStyleIdx="7" presStyleCnt="12" custScaleX="247036" custScaleY="129653" custLinFactX="12617" custLinFactY="-95091" custLinFactNeighborX="100000" custLinFactNeighborY="-100000">
        <dgm:presLayoutVars>
          <dgm:chPref val="3"/>
        </dgm:presLayoutVars>
      </dgm:prSet>
      <dgm:spPr/>
    </dgm:pt>
    <dgm:pt modelId="{1392C2D4-28DC-4C37-B863-46D533191E97}" type="pres">
      <dgm:prSet presAssocID="{2D57E55B-8443-47B3-9028-244705C63ABC}" presName="rootConnector" presStyleLbl="node3" presStyleIdx="7" presStyleCnt="12"/>
      <dgm:spPr/>
    </dgm:pt>
    <dgm:pt modelId="{7BC20785-0E63-4A82-9191-3C9EFD99977C}" type="pres">
      <dgm:prSet presAssocID="{2D57E55B-8443-47B3-9028-244705C63ABC}" presName="hierChild4" presStyleCnt="0"/>
      <dgm:spPr/>
    </dgm:pt>
    <dgm:pt modelId="{52CB21F3-D1FA-4F07-90D8-57136F126A7B}" type="pres">
      <dgm:prSet presAssocID="{2D57E55B-8443-47B3-9028-244705C63ABC}" presName="hierChild5" presStyleCnt="0"/>
      <dgm:spPr/>
    </dgm:pt>
    <dgm:pt modelId="{D5AB3F1C-F9A0-41B7-B854-83CB1EC31A3A}" type="pres">
      <dgm:prSet presAssocID="{EF50618F-9733-479D-9E63-BD43CD32EEDD}" presName="Name37" presStyleLbl="parChTrans1D3" presStyleIdx="8" presStyleCnt="12"/>
      <dgm:spPr/>
    </dgm:pt>
    <dgm:pt modelId="{756AF2CE-EDEF-485D-A012-FDFE9476CBDC}" type="pres">
      <dgm:prSet presAssocID="{EFA7B233-F5E7-4D27-9643-76C0B9A5F510}" presName="hierRoot2" presStyleCnt="0">
        <dgm:presLayoutVars>
          <dgm:hierBranch val="init"/>
        </dgm:presLayoutVars>
      </dgm:prSet>
      <dgm:spPr/>
    </dgm:pt>
    <dgm:pt modelId="{216D20C7-E985-4297-87B9-11C2C7E33499}" type="pres">
      <dgm:prSet presAssocID="{EFA7B233-F5E7-4D27-9643-76C0B9A5F510}" presName="rootComposite" presStyleCnt="0"/>
      <dgm:spPr/>
    </dgm:pt>
    <dgm:pt modelId="{4D473041-9990-45DF-9E03-DB1256FE4D92}" type="pres">
      <dgm:prSet presAssocID="{EFA7B233-F5E7-4D27-9643-76C0B9A5F510}" presName="rootText" presStyleLbl="node3" presStyleIdx="8" presStyleCnt="12" custScaleX="180122" custScaleY="121551" custLinFactX="-35363" custLinFactY="-163353" custLinFactNeighborX="-100000" custLinFactNeighborY="-200000">
        <dgm:presLayoutVars>
          <dgm:chPref val="3"/>
        </dgm:presLayoutVars>
      </dgm:prSet>
      <dgm:spPr/>
    </dgm:pt>
    <dgm:pt modelId="{A613FD52-6448-47F5-A2F7-39EB153494C6}" type="pres">
      <dgm:prSet presAssocID="{EFA7B233-F5E7-4D27-9643-76C0B9A5F510}" presName="rootConnector" presStyleLbl="node3" presStyleIdx="8" presStyleCnt="12"/>
      <dgm:spPr/>
    </dgm:pt>
    <dgm:pt modelId="{C583BDD4-B830-4829-8D8F-5F99EC5F0600}" type="pres">
      <dgm:prSet presAssocID="{EFA7B233-F5E7-4D27-9643-76C0B9A5F510}" presName="hierChild4" presStyleCnt="0"/>
      <dgm:spPr/>
    </dgm:pt>
    <dgm:pt modelId="{1D502BA1-E135-44E0-88D2-34D577EDBCEB}" type="pres">
      <dgm:prSet presAssocID="{EFA7B233-F5E7-4D27-9643-76C0B9A5F510}" presName="hierChild5" presStyleCnt="0"/>
      <dgm:spPr/>
    </dgm:pt>
    <dgm:pt modelId="{690405CC-C094-4D7B-888F-75D3FA95A2E2}" type="pres">
      <dgm:prSet presAssocID="{E3695BC5-4CAA-403C-9D26-2400FE60737D}" presName="Name37" presStyleLbl="parChTrans1D3" presStyleIdx="9" presStyleCnt="12"/>
      <dgm:spPr/>
    </dgm:pt>
    <dgm:pt modelId="{02B0F0B0-E11E-4DBD-9833-6F064051837B}" type="pres">
      <dgm:prSet presAssocID="{3E61546F-D50A-4491-93B4-C545DFF181C4}" presName="hierRoot2" presStyleCnt="0">
        <dgm:presLayoutVars>
          <dgm:hierBranch val="init"/>
        </dgm:presLayoutVars>
      </dgm:prSet>
      <dgm:spPr/>
    </dgm:pt>
    <dgm:pt modelId="{A54950AA-C875-4E29-A9A0-7FC3D3EC2263}" type="pres">
      <dgm:prSet presAssocID="{3E61546F-D50A-4491-93B4-C545DFF181C4}" presName="rootComposite" presStyleCnt="0"/>
      <dgm:spPr/>
    </dgm:pt>
    <dgm:pt modelId="{6141218C-D47A-483B-AEBE-5A2D6874DE19}" type="pres">
      <dgm:prSet presAssocID="{3E61546F-D50A-4491-93B4-C545DFF181C4}" presName="rootText" presStyleLbl="node3" presStyleIdx="9" presStyleCnt="12" custScaleX="261853" custScaleY="168371" custLinFactX="13346" custLinFactY="-92833" custLinFactNeighborX="100000" custLinFactNeighborY="-10000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443525E-8371-4FD7-ACEF-2B8CB22FBCF1}" type="pres">
      <dgm:prSet presAssocID="{3E61546F-D50A-4491-93B4-C545DFF181C4}" presName="rootConnector" presStyleLbl="node3" presStyleIdx="9" presStyleCnt="12"/>
      <dgm:spPr/>
    </dgm:pt>
    <dgm:pt modelId="{EC2C10C8-F884-47AE-A4D9-19192A79165D}" type="pres">
      <dgm:prSet presAssocID="{3E61546F-D50A-4491-93B4-C545DFF181C4}" presName="hierChild4" presStyleCnt="0"/>
      <dgm:spPr/>
    </dgm:pt>
    <dgm:pt modelId="{10D23D12-865B-4E1D-AA5E-CC59E10B2010}" type="pres">
      <dgm:prSet presAssocID="{3E61546F-D50A-4491-93B4-C545DFF181C4}" presName="hierChild5" presStyleCnt="0"/>
      <dgm:spPr/>
    </dgm:pt>
    <dgm:pt modelId="{1A9E8545-5DAE-4049-9ADA-6BA96EB17989}" type="pres">
      <dgm:prSet presAssocID="{968311DE-8DAE-4123-B866-02E8AE79C73D}" presName="Name37" presStyleLbl="parChTrans1D3" presStyleIdx="10" presStyleCnt="12"/>
      <dgm:spPr/>
    </dgm:pt>
    <dgm:pt modelId="{8ACC20F3-7234-4DF5-83FE-AF7EBCA0E150}" type="pres">
      <dgm:prSet presAssocID="{9CDED757-6D07-4A8D-B79E-29E503DE2B0F}" presName="hierRoot2" presStyleCnt="0">
        <dgm:presLayoutVars>
          <dgm:hierBranch val="init"/>
        </dgm:presLayoutVars>
      </dgm:prSet>
      <dgm:spPr/>
    </dgm:pt>
    <dgm:pt modelId="{68484176-0CB4-413F-A0AF-DB96EFC1ECC0}" type="pres">
      <dgm:prSet presAssocID="{9CDED757-6D07-4A8D-B79E-29E503DE2B0F}" presName="rootComposite" presStyleCnt="0"/>
      <dgm:spPr/>
    </dgm:pt>
    <dgm:pt modelId="{348A1882-0AB3-4DD9-BE67-32BEF6683820}" type="pres">
      <dgm:prSet presAssocID="{9CDED757-6D07-4A8D-B79E-29E503DE2B0F}" presName="rootText" presStyleLbl="node3" presStyleIdx="10" presStyleCnt="12" custScaleX="201635" custScaleY="173494" custLinFactX="11803" custLinFactY="-495835" custLinFactNeighborX="100000" custLinFactNeighborY="-50000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B3C26BC-6BD0-4CF3-B59D-3DE015DBA610}" type="pres">
      <dgm:prSet presAssocID="{9CDED757-6D07-4A8D-B79E-29E503DE2B0F}" presName="rootConnector" presStyleLbl="node3" presStyleIdx="10" presStyleCnt="12"/>
      <dgm:spPr/>
    </dgm:pt>
    <dgm:pt modelId="{8EC63327-462A-4EB8-9F84-54CBCD54A911}" type="pres">
      <dgm:prSet presAssocID="{9CDED757-6D07-4A8D-B79E-29E503DE2B0F}" presName="hierChild4" presStyleCnt="0"/>
      <dgm:spPr/>
    </dgm:pt>
    <dgm:pt modelId="{5E63BCCC-7983-4BC8-A6A9-7EF221EBB6FE}" type="pres">
      <dgm:prSet presAssocID="{9CDED757-6D07-4A8D-B79E-29E503DE2B0F}" presName="hierChild5" presStyleCnt="0"/>
      <dgm:spPr/>
    </dgm:pt>
    <dgm:pt modelId="{9CF823C3-E2AE-4621-8BB1-D874228930A1}" type="pres">
      <dgm:prSet presAssocID="{F64B1AB1-1276-4358-8466-779F252D4B50}" presName="Name37" presStyleLbl="parChTrans1D3" presStyleIdx="11" presStyleCnt="12"/>
      <dgm:spPr/>
    </dgm:pt>
    <dgm:pt modelId="{2B0098EA-8814-4D6A-9B3C-19ABFEEC93E5}" type="pres">
      <dgm:prSet presAssocID="{0ED77D9C-021B-4583-83C3-163269B142CA}" presName="hierRoot2" presStyleCnt="0">
        <dgm:presLayoutVars>
          <dgm:hierBranch val="init"/>
        </dgm:presLayoutVars>
      </dgm:prSet>
      <dgm:spPr/>
    </dgm:pt>
    <dgm:pt modelId="{7575F8E1-A681-4377-80C9-D6DD59E4FD25}" type="pres">
      <dgm:prSet presAssocID="{0ED77D9C-021B-4583-83C3-163269B142CA}" presName="rootComposite" presStyleCnt="0"/>
      <dgm:spPr/>
    </dgm:pt>
    <dgm:pt modelId="{954625B2-9167-4EB8-81AA-73D276AB7423}" type="pres">
      <dgm:prSet presAssocID="{0ED77D9C-021B-4583-83C3-163269B142CA}" presName="rootText" presStyleLbl="node3" presStyleIdx="11" presStyleCnt="12" custScaleX="267587" custScaleY="110134" custLinFactX="11816" custLinFactY="-200000" custLinFactNeighborX="100000" custLinFactNeighborY="-20351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7EF881D2-AA26-4D69-A87A-6019CC7D3256}" type="pres">
      <dgm:prSet presAssocID="{0ED77D9C-021B-4583-83C3-163269B142CA}" presName="rootConnector" presStyleLbl="node3" presStyleIdx="11" presStyleCnt="12"/>
      <dgm:spPr/>
    </dgm:pt>
    <dgm:pt modelId="{FE7F20FE-7C6A-4FB9-AB8A-014B0CADE8B1}" type="pres">
      <dgm:prSet presAssocID="{0ED77D9C-021B-4583-83C3-163269B142CA}" presName="hierChild4" presStyleCnt="0"/>
      <dgm:spPr/>
    </dgm:pt>
    <dgm:pt modelId="{82023A82-6094-4A87-82D1-188216538464}" type="pres">
      <dgm:prSet presAssocID="{0ED77D9C-021B-4583-83C3-163269B142CA}" presName="hierChild5" presStyleCnt="0"/>
      <dgm:spPr/>
    </dgm:pt>
    <dgm:pt modelId="{E0245DAA-680A-4915-938E-31AA02B5DB8A}" type="pres">
      <dgm:prSet presAssocID="{A176B158-7A98-4C07-965D-69A6E903E0AB}" presName="hierChild5" presStyleCnt="0"/>
      <dgm:spPr/>
    </dgm:pt>
    <dgm:pt modelId="{83578E5C-3977-4843-B776-8E2A7071DF10}" type="pres">
      <dgm:prSet presAssocID="{C0CE6DA0-2CB3-406F-BDC2-CA84F5A1DE98}" presName="hierChild3" presStyleCnt="0"/>
      <dgm:spPr/>
    </dgm:pt>
  </dgm:ptLst>
  <dgm:cxnLst>
    <dgm:cxn modelId="{57BF19C3-408E-4772-8199-32CD9D6AA378}" srcId="{A176B158-7A98-4C07-965D-69A6E903E0AB}" destId="{B1F247AE-A22C-4ABC-8543-D5C6669D0841}" srcOrd="0" destOrd="0" parTransId="{6B7AA3F9-2D97-4068-96CC-CB4EC183AD02}" sibTransId="{96476E52-B122-4E04-BD02-A26449861913}"/>
    <dgm:cxn modelId="{E99A89AE-1563-4280-B36C-53CE94F6D44D}" type="presOf" srcId="{FFBD3478-F84B-4311-AB6D-D837DCAE78E8}" destId="{84B93AC3-CFE7-4E52-832B-F406DE10BABD}" srcOrd="1" destOrd="0" presId="urn:microsoft.com/office/officeart/2005/8/layout/orgChart1"/>
    <dgm:cxn modelId="{AE2958BE-6DB6-45C1-97F6-E9D4E61329AE}" srcId="{1F5DBD33-D1B0-499B-A8E5-0E95F1B7BC0E}" destId="{36ABF481-84E2-4E7F-A1AE-7C482F40B6AC}" srcOrd="2" destOrd="0" parTransId="{CDBDF033-DB69-4D07-9C5F-3EE75E61E973}" sibTransId="{2E2DE1AF-0644-4D10-9317-17735A6A8AE2}"/>
    <dgm:cxn modelId="{9C84487C-4620-4858-BE9E-01B6AF79B935}" type="presOf" srcId="{3E61546F-D50A-4491-93B4-C545DFF181C4}" destId="{6141218C-D47A-483B-AEBE-5A2D6874DE19}" srcOrd="0" destOrd="0" presId="urn:microsoft.com/office/officeart/2005/8/layout/orgChart1"/>
    <dgm:cxn modelId="{0A650781-45C5-4AB5-8A35-A69BA56B6E87}" type="presOf" srcId="{C0CE6DA0-2CB3-406F-BDC2-CA84F5A1DE98}" destId="{D5286B5E-2D83-44FA-A7E4-BDAA13A1786D}" srcOrd="0" destOrd="0" presId="urn:microsoft.com/office/officeart/2005/8/layout/orgChart1"/>
    <dgm:cxn modelId="{64081820-71E7-4A76-B90D-00671CD48039}" type="presOf" srcId="{A536DF82-EE42-495A-8BC9-2FE54F4CD6BA}" destId="{0715D6DD-DA84-49C3-B3F5-721A39108A68}" srcOrd="1" destOrd="0" presId="urn:microsoft.com/office/officeart/2005/8/layout/orgChart1"/>
    <dgm:cxn modelId="{92226F66-3BF4-4037-95F4-09BEA998197D}" type="presOf" srcId="{5256A4B6-040D-4117-9F23-2AB8212F0916}" destId="{12996719-4865-4ED0-99DC-3AA4D20193A2}" srcOrd="0" destOrd="0" presId="urn:microsoft.com/office/officeart/2005/8/layout/orgChart1"/>
    <dgm:cxn modelId="{EB2A3F80-6E58-429A-93B8-BC0FCC0B0F5B}" type="presOf" srcId="{CDBDF033-DB69-4D07-9C5F-3EE75E61E973}" destId="{5CF8CF4F-6D14-4AF1-A691-F2B4F6E1E9AA}" srcOrd="0" destOrd="0" presId="urn:microsoft.com/office/officeart/2005/8/layout/orgChart1"/>
    <dgm:cxn modelId="{807ADC61-80B6-45AA-97DD-0FF4A60B326E}" type="presOf" srcId="{C7F71B22-9D8C-4A29-BD0C-F7F973619AED}" destId="{E5D4C192-0D32-4BBD-9A25-FE7684013ACC}" srcOrd="1" destOrd="0" presId="urn:microsoft.com/office/officeart/2005/8/layout/orgChart1"/>
    <dgm:cxn modelId="{6B0FF19A-FDB8-413D-BFAF-D885F81E1298}" type="presOf" srcId="{F64B1AB1-1276-4358-8466-779F252D4B50}" destId="{9CF823C3-E2AE-4621-8BB1-D874228930A1}" srcOrd="0" destOrd="0" presId="urn:microsoft.com/office/officeart/2005/8/layout/orgChart1"/>
    <dgm:cxn modelId="{549F6A10-36E8-456A-99A1-63AB7E4F373C}" type="presOf" srcId="{EFA7B233-F5E7-4D27-9643-76C0B9A5F510}" destId="{A613FD52-6448-47F5-A2F7-39EB153494C6}" srcOrd="1" destOrd="0" presId="urn:microsoft.com/office/officeart/2005/8/layout/orgChart1"/>
    <dgm:cxn modelId="{A12977DD-9CB2-407C-B106-0D5524D03905}" srcId="{1F5DBD33-D1B0-499B-A8E5-0E95F1B7BC0E}" destId="{A536DF82-EE42-495A-8BC9-2FE54F4CD6BA}" srcOrd="3" destOrd="0" parTransId="{3B6F0EBF-0412-470F-A18F-D699B1E24225}" sibTransId="{3F979199-EB39-4DA3-86A2-0F8E0B337B2C}"/>
    <dgm:cxn modelId="{9938B67B-0AD8-4C4C-9FCC-5FCEE36F083E}" srcId="{A176B158-7A98-4C07-965D-69A6E903E0AB}" destId="{0ED77D9C-021B-4583-83C3-163269B142CA}" srcOrd="7" destOrd="0" parTransId="{F64B1AB1-1276-4358-8466-779F252D4B50}" sibTransId="{4DF2652C-1808-49AB-A935-9730559C0CD6}"/>
    <dgm:cxn modelId="{E6CFD3DA-BBAC-47BF-BE77-97598297BD26}" type="presOf" srcId="{B1F247AE-A22C-4ABC-8543-D5C6669D0841}" destId="{E2BBB827-A8F3-4492-BEB9-474F8DBECC77}" srcOrd="0" destOrd="0" presId="urn:microsoft.com/office/officeart/2005/8/layout/orgChart1"/>
    <dgm:cxn modelId="{D3560D5C-1544-4928-943D-8712D7D4F036}" srcId="{C0CE6DA0-2CB3-406F-BDC2-CA84F5A1DE98}" destId="{1F5DBD33-D1B0-499B-A8E5-0E95F1B7BC0E}" srcOrd="0" destOrd="0" parTransId="{6AD19CAF-48F2-4FB2-8CBC-35F6FF208D5F}" sibTransId="{4F989FF3-F7B5-4D42-AAEE-AF6EA81E760E}"/>
    <dgm:cxn modelId="{15E36E22-A7CF-415D-BCD8-9E4AAA1B1D1B}" type="presOf" srcId="{3B6F0EBF-0412-470F-A18F-D699B1E24225}" destId="{995C0620-57B5-49D4-B5B1-464F2E5111CB}" srcOrd="0" destOrd="0" presId="urn:microsoft.com/office/officeart/2005/8/layout/orgChart1"/>
    <dgm:cxn modelId="{A69380C4-21FA-425C-8A4C-BCF53AB2A106}" type="presOf" srcId="{C0CE6DA0-2CB3-406F-BDC2-CA84F5A1DE98}" destId="{ABC1EEAB-127B-4DB1-84BE-541A7F9F2995}" srcOrd="1" destOrd="0" presId="urn:microsoft.com/office/officeart/2005/8/layout/orgChart1"/>
    <dgm:cxn modelId="{47340112-37C0-4672-B04D-51632A7024BF}" srcId="{C0CE6DA0-2CB3-406F-BDC2-CA84F5A1DE98}" destId="{A176B158-7A98-4C07-965D-69A6E903E0AB}" srcOrd="1" destOrd="0" parTransId="{5256A4B6-040D-4117-9F23-2AB8212F0916}" sibTransId="{09CD76BC-8B25-410C-A1F3-09F00C32C6F8}"/>
    <dgm:cxn modelId="{E8CE1D2C-A18F-4C3C-917B-279279831AAB}" type="presOf" srcId="{EFA7B233-F5E7-4D27-9643-76C0B9A5F510}" destId="{4D473041-9990-45DF-9E03-DB1256FE4D92}" srcOrd="0" destOrd="0" presId="urn:microsoft.com/office/officeart/2005/8/layout/orgChart1"/>
    <dgm:cxn modelId="{A642FF06-1989-4F95-8096-7667A1A2221F}" type="presOf" srcId="{0A12F72F-06B3-4F1C-ADAB-09A97F0616DE}" destId="{CA64100C-FCAF-4C64-A57D-350718A5DFC1}" srcOrd="0" destOrd="0" presId="urn:microsoft.com/office/officeart/2005/8/layout/orgChart1"/>
    <dgm:cxn modelId="{2CE6AE76-04F6-4BDB-A49F-5FF303473F52}" type="presOf" srcId="{E9B227EC-AA0B-4B77-B50A-10BBCB373727}" destId="{8B4215AC-5A34-4CEB-B75A-BD7E237422C5}" srcOrd="0" destOrd="0" presId="urn:microsoft.com/office/officeart/2005/8/layout/orgChart1"/>
    <dgm:cxn modelId="{7D28485F-9BEE-4851-8D23-BBEE595ACC3A}" type="presOf" srcId="{A7F6DC70-9486-4436-9F87-7FBBBB25BB01}" destId="{AC0AC4F6-3E10-43D6-B599-A536C172E41C}" srcOrd="0" destOrd="0" presId="urn:microsoft.com/office/officeart/2005/8/layout/orgChart1"/>
    <dgm:cxn modelId="{F21FE621-7F37-4DF5-A1C9-5FAF6E75C809}" srcId="{A176B158-7A98-4C07-965D-69A6E903E0AB}" destId="{3E61546F-D50A-4491-93B4-C545DFF181C4}" srcOrd="5" destOrd="0" parTransId="{E3695BC5-4CAA-403C-9D26-2400FE60737D}" sibTransId="{CB68602C-F838-461F-832F-C6D6B6CA02FD}"/>
    <dgm:cxn modelId="{F50DDC4A-3A79-4460-A35A-A85FF3D6F080}" type="presOf" srcId="{36ABF481-84E2-4E7F-A1AE-7C482F40B6AC}" destId="{1217C202-F47B-4C38-B748-54203D5D4CA2}" srcOrd="1" destOrd="0" presId="urn:microsoft.com/office/officeart/2005/8/layout/orgChart1"/>
    <dgm:cxn modelId="{6451EFA6-AFF4-4C5A-90E8-E1236C523A90}" type="presOf" srcId="{2D57E55B-8443-47B3-9028-244705C63ABC}" destId="{1392C2D4-28DC-4C37-B863-46D533191E97}" srcOrd="1" destOrd="0" presId="urn:microsoft.com/office/officeart/2005/8/layout/orgChart1"/>
    <dgm:cxn modelId="{A85A8F67-8C52-41CF-BF89-2D26151B25C2}" type="presOf" srcId="{0ED77D9C-021B-4583-83C3-163269B142CA}" destId="{7EF881D2-AA26-4D69-A87A-6019CC7D3256}" srcOrd="1" destOrd="0" presId="urn:microsoft.com/office/officeart/2005/8/layout/orgChart1"/>
    <dgm:cxn modelId="{C44105D5-2E90-4AC6-9118-5E7D1C0A0AFB}" type="presOf" srcId="{C7F71B22-9D8C-4A29-BD0C-F7F973619AED}" destId="{C26110A6-2E7C-4529-940C-BF74785AE43C}" srcOrd="0" destOrd="0" presId="urn:microsoft.com/office/officeart/2005/8/layout/orgChart1"/>
    <dgm:cxn modelId="{1244B73C-D769-449E-9657-5E07A65331BE}" type="presOf" srcId="{EF50618F-9733-479D-9E63-BD43CD32EEDD}" destId="{D5AB3F1C-F9A0-41B7-B854-83CB1EC31A3A}" srcOrd="0" destOrd="0" presId="urn:microsoft.com/office/officeart/2005/8/layout/orgChart1"/>
    <dgm:cxn modelId="{C35FF55F-E04D-4709-B38A-30EFEA0B0EC0}" type="presOf" srcId="{36ABF481-84E2-4E7F-A1AE-7C482F40B6AC}" destId="{39351BEF-EE2D-489A-825B-9F228110664E}" srcOrd="0" destOrd="0" presId="urn:microsoft.com/office/officeart/2005/8/layout/orgChart1"/>
    <dgm:cxn modelId="{CB96B452-DB99-49AE-A1B7-6840B28B9EF0}" srcId="{A176B158-7A98-4C07-965D-69A6E903E0AB}" destId="{2D57E55B-8443-47B3-9028-244705C63ABC}" srcOrd="3" destOrd="0" parTransId="{80BAF3F4-E49A-4FDD-9BE2-69AD9CA559A9}" sibTransId="{843EF05D-B47F-4385-8E4A-254E6934348B}"/>
    <dgm:cxn modelId="{5C8D8FCC-8596-48AB-890F-4D844CC495E3}" srcId="{1F5DBD33-D1B0-499B-A8E5-0E95F1B7BC0E}" destId="{FFBD3478-F84B-4311-AB6D-D837DCAE78E8}" srcOrd="0" destOrd="0" parTransId="{A7F6DC70-9486-4436-9F87-7FBBBB25BB01}" sibTransId="{0A961F3A-9C3E-48C3-B859-44011179A675}"/>
    <dgm:cxn modelId="{A34721D8-0F2A-482E-9720-55FA06C6E708}" type="presOf" srcId="{1F5DBD33-D1B0-499B-A8E5-0E95F1B7BC0E}" destId="{C6B557BF-BBEF-42A5-BCC6-05472C2D5069}" srcOrd="1" destOrd="0" presId="urn:microsoft.com/office/officeart/2005/8/layout/orgChart1"/>
    <dgm:cxn modelId="{233F0CE3-74E2-4771-81EC-49BE7C83D961}" type="presOf" srcId="{BCC5B6BD-0FDD-44BE-AA95-FF88590F2417}" destId="{1C638F75-D386-4F4F-9E8C-148E4CB68704}" srcOrd="0" destOrd="0" presId="urn:microsoft.com/office/officeart/2005/8/layout/orgChart1"/>
    <dgm:cxn modelId="{4104D231-8E12-4A00-A4A1-65DEFE5E2220}" type="presOf" srcId="{6AD19CAF-48F2-4FB2-8CBC-35F6FF208D5F}" destId="{BDA66AC2-AF82-41AA-8BB0-A6E443846438}" srcOrd="0" destOrd="0" presId="urn:microsoft.com/office/officeart/2005/8/layout/orgChart1"/>
    <dgm:cxn modelId="{D179A650-9376-4680-B103-F968F0D85415}" type="presOf" srcId="{FFBD3478-F84B-4311-AB6D-D837DCAE78E8}" destId="{853273EE-F5BA-4750-BE0E-3A41065B667F}" srcOrd="0" destOrd="0" presId="urn:microsoft.com/office/officeart/2005/8/layout/orgChart1"/>
    <dgm:cxn modelId="{79E2A120-3A49-4CA5-A8B4-31F74C2E3A0B}" type="presOf" srcId="{6B7AA3F9-2D97-4068-96CC-CB4EC183AD02}" destId="{CB306A02-B401-4768-BF18-4D2C75246F9B}" srcOrd="0" destOrd="0" presId="urn:microsoft.com/office/officeart/2005/8/layout/orgChart1"/>
    <dgm:cxn modelId="{9802DB5D-0AD9-497E-9816-15EF133A51E7}" type="presOf" srcId="{0ED77D9C-021B-4583-83C3-163269B142CA}" destId="{954625B2-9167-4EB8-81AA-73D276AB7423}" srcOrd="0" destOrd="0" presId="urn:microsoft.com/office/officeart/2005/8/layout/orgChart1"/>
    <dgm:cxn modelId="{7E32265C-B294-41BA-A736-27F0A5307C8F}" type="presOf" srcId="{C4A521BE-A237-42AF-81A8-1A024DE39556}" destId="{572DDEF9-2C8B-4D54-998B-15FAD3DD85C0}" srcOrd="0" destOrd="0" presId="urn:microsoft.com/office/officeart/2005/8/layout/orgChart1"/>
    <dgm:cxn modelId="{9B25E118-A172-47CC-9762-5D19854995C8}" type="presOf" srcId="{A176B158-7A98-4C07-965D-69A6E903E0AB}" destId="{FD149CC2-D645-4764-8BFA-D0071A33F6B3}" srcOrd="1" destOrd="0" presId="urn:microsoft.com/office/officeart/2005/8/layout/orgChart1"/>
    <dgm:cxn modelId="{E6F4BBB9-63FA-49B7-A6C4-ACA986414DCA}" type="presOf" srcId="{B1F247AE-A22C-4ABC-8543-D5C6669D0841}" destId="{DCF9D9A4-95B3-437B-8F59-B1F785D2A225}" srcOrd="1" destOrd="0" presId="urn:microsoft.com/office/officeart/2005/8/layout/orgChart1"/>
    <dgm:cxn modelId="{20E6CB93-89A5-4FBA-8EA0-B6763112BD3E}" srcId="{1F5DBD33-D1B0-499B-A8E5-0E95F1B7BC0E}" destId="{0A12F72F-06B3-4F1C-ADAB-09A97F0616DE}" srcOrd="1" destOrd="0" parTransId="{49C9AFBA-13B9-4109-B80C-829FC5636C35}" sibTransId="{62523E1F-53FD-48B4-B28E-27071EB58357}"/>
    <dgm:cxn modelId="{6F8580F4-139C-4EB1-A7F6-C90ACE04E677}" type="presOf" srcId="{80BAF3F4-E49A-4FDD-9BE2-69AD9CA559A9}" destId="{6CA9DFE1-8853-4B34-96A6-8A02642C4EB6}" srcOrd="0" destOrd="0" presId="urn:microsoft.com/office/officeart/2005/8/layout/orgChart1"/>
    <dgm:cxn modelId="{3D1EA542-4273-4940-B541-DFB433B2A1F8}" srcId="{A176B158-7A98-4C07-965D-69A6E903E0AB}" destId="{9CDED757-6D07-4A8D-B79E-29E503DE2B0F}" srcOrd="6" destOrd="0" parTransId="{968311DE-8DAE-4123-B866-02E8AE79C73D}" sibTransId="{9994C4BB-FC40-4DC5-AE5C-789C1522CAD8}"/>
    <dgm:cxn modelId="{3370003E-9B0F-404B-A524-5002B556B3AA}" type="presOf" srcId="{E9B227EC-AA0B-4B77-B50A-10BBCB373727}" destId="{4218F61C-07EE-42AF-B753-673D0646C0AF}" srcOrd="1" destOrd="0" presId="urn:microsoft.com/office/officeart/2005/8/layout/orgChart1"/>
    <dgm:cxn modelId="{F24B428A-8E7D-4D17-B0F0-E851AA7BEBAE}" type="presOf" srcId="{1F5DBD33-D1B0-499B-A8E5-0E95F1B7BC0E}" destId="{03A80AEC-63EA-404D-89ED-AC68FEF3FBD3}" srcOrd="0" destOrd="0" presId="urn:microsoft.com/office/officeart/2005/8/layout/orgChart1"/>
    <dgm:cxn modelId="{2B13E0C6-EF6D-4B2E-A195-FB4EE1E8CB2F}" srcId="{A176B158-7A98-4C07-965D-69A6E903E0AB}" destId="{E9B227EC-AA0B-4B77-B50A-10BBCB373727}" srcOrd="2" destOrd="0" parTransId="{C4A521BE-A237-42AF-81A8-1A024DE39556}" sibTransId="{23AEA675-9289-433A-9659-7009008CE6D8}"/>
    <dgm:cxn modelId="{70F2E677-72D1-4ED2-BD7D-82BB32CFF867}" srcId="{A176B158-7A98-4C07-965D-69A6E903E0AB}" destId="{EFA7B233-F5E7-4D27-9643-76C0B9A5F510}" srcOrd="4" destOrd="0" parTransId="{EF50618F-9733-479D-9E63-BD43CD32EEDD}" sibTransId="{DC9F9E91-8AC0-4776-B7F2-6E7AC48C65C7}"/>
    <dgm:cxn modelId="{75436FDD-14A9-4C25-A726-89446228E8CC}" type="presOf" srcId="{9CDED757-6D07-4A8D-B79E-29E503DE2B0F}" destId="{348A1882-0AB3-4DD9-BE67-32BEF6683820}" srcOrd="0" destOrd="0" presId="urn:microsoft.com/office/officeart/2005/8/layout/orgChart1"/>
    <dgm:cxn modelId="{4669B559-2503-44DC-8143-0282B6BF1798}" type="presOf" srcId="{A176B158-7A98-4C07-965D-69A6E903E0AB}" destId="{0A82C679-9E5A-470A-8EFD-62AC9446E439}" srcOrd="0" destOrd="0" presId="urn:microsoft.com/office/officeart/2005/8/layout/orgChart1"/>
    <dgm:cxn modelId="{81F3FE83-1E40-4CF8-9862-C0F0C4217F8A}" type="presOf" srcId="{9CDED757-6D07-4A8D-B79E-29E503DE2B0F}" destId="{FB3C26BC-6BD0-4CF3-B59D-3DE015DBA610}" srcOrd="1" destOrd="0" presId="urn:microsoft.com/office/officeart/2005/8/layout/orgChart1"/>
    <dgm:cxn modelId="{52E819A5-49B2-4819-A73E-ABCA54E6341B}" type="presOf" srcId="{2D57E55B-8443-47B3-9028-244705C63ABC}" destId="{C09BD7AB-F1B5-472F-9C34-7E998F287E98}" srcOrd="0" destOrd="0" presId="urn:microsoft.com/office/officeart/2005/8/layout/orgChart1"/>
    <dgm:cxn modelId="{5FA20802-446A-40A3-8DEF-3A4EF656ECAA}" type="presOf" srcId="{0A12F72F-06B3-4F1C-ADAB-09A97F0616DE}" destId="{F8EE4DC8-900B-4F3A-8254-43BADD74B8CB}" srcOrd="1" destOrd="0" presId="urn:microsoft.com/office/officeart/2005/8/layout/orgChart1"/>
    <dgm:cxn modelId="{E4B48E96-D0DF-452B-B0BF-E1A92055EE16}" srcId="{BCC5B6BD-0FDD-44BE-AA95-FF88590F2417}" destId="{C0CE6DA0-2CB3-406F-BDC2-CA84F5A1DE98}" srcOrd="0" destOrd="0" parTransId="{742CA595-C13F-4E46-A71E-3A30BBD0ABA6}" sibTransId="{82DC7297-F67E-4459-8054-C6629CDFC07C}"/>
    <dgm:cxn modelId="{1FFD3748-5F04-41A9-BF80-6C4BD7F526FB}" type="presOf" srcId="{A536DF82-EE42-495A-8BC9-2FE54F4CD6BA}" destId="{7A142F68-1203-47DD-A907-62D4368696B1}" srcOrd="0" destOrd="0" presId="urn:microsoft.com/office/officeart/2005/8/layout/orgChart1"/>
    <dgm:cxn modelId="{10B62B8E-A08D-4669-806F-D7D2539E8A20}" type="presOf" srcId="{E3695BC5-4CAA-403C-9D26-2400FE60737D}" destId="{690405CC-C094-4D7B-888F-75D3FA95A2E2}" srcOrd="0" destOrd="0" presId="urn:microsoft.com/office/officeart/2005/8/layout/orgChart1"/>
    <dgm:cxn modelId="{F350AAD8-5E93-4B62-B073-00AFC4CB1426}" type="presOf" srcId="{49C9AFBA-13B9-4109-B80C-829FC5636C35}" destId="{3A6128EF-1F9E-4F4D-8A81-8B799C02C646}" srcOrd="0" destOrd="0" presId="urn:microsoft.com/office/officeart/2005/8/layout/orgChart1"/>
    <dgm:cxn modelId="{FB165106-185A-419E-B84C-477A3F5C2DD0}" srcId="{A176B158-7A98-4C07-965D-69A6E903E0AB}" destId="{C7F71B22-9D8C-4A29-BD0C-F7F973619AED}" srcOrd="1" destOrd="0" parTransId="{018C095E-367E-4993-AE80-ED74D6CA0504}" sibTransId="{62BAE20A-0D82-402F-9C60-AB908EE608A0}"/>
    <dgm:cxn modelId="{1109CC07-7358-4991-B8A4-F6FFF6E9A2C6}" type="presOf" srcId="{018C095E-367E-4993-AE80-ED74D6CA0504}" destId="{9E1404F1-F1FF-4AC0-BE41-783CB2770D67}" srcOrd="0" destOrd="0" presId="urn:microsoft.com/office/officeart/2005/8/layout/orgChart1"/>
    <dgm:cxn modelId="{1253D235-CF90-4476-B9C9-C688A25065A3}" type="presOf" srcId="{968311DE-8DAE-4123-B866-02E8AE79C73D}" destId="{1A9E8545-5DAE-4049-9ADA-6BA96EB17989}" srcOrd="0" destOrd="0" presId="urn:microsoft.com/office/officeart/2005/8/layout/orgChart1"/>
    <dgm:cxn modelId="{BC83DB07-C420-4DE5-AF70-95F56699AF9A}" type="presOf" srcId="{3E61546F-D50A-4491-93B4-C545DFF181C4}" destId="{E443525E-8371-4FD7-ACEF-2B8CB22FBCF1}" srcOrd="1" destOrd="0" presId="urn:microsoft.com/office/officeart/2005/8/layout/orgChart1"/>
    <dgm:cxn modelId="{99F8BA65-92F8-4940-9A46-D5E98F787AB1}" type="presParOf" srcId="{1C638F75-D386-4F4F-9E8C-148E4CB68704}" destId="{FF9C34BC-C4D8-4D5D-B3A1-3A04C16E8B5D}" srcOrd="0" destOrd="0" presId="urn:microsoft.com/office/officeart/2005/8/layout/orgChart1"/>
    <dgm:cxn modelId="{7184955C-5391-403F-BC7E-B4B713F42979}" type="presParOf" srcId="{FF9C34BC-C4D8-4D5D-B3A1-3A04C16E8B5D}" destId="{F0072B6C-90FB-4989-A12E-43C5E613D759}" srcOrd="0" destOrd="0" presId="urn:microsoft.com/office/officeart/2005/8/layout/orgChart1"/>
    <dgm:cxn modelId="{E452551F-41BC-48FA-B810-A5F752D123E2}" type="presParOf" srcId="{F0072B6C-90FB-4989-A12E-43C5E613D759}" destId="{D5286B5E-2D83-44FA-A7E4-BDAA13A1786D}" srcOrd="0" destOrd="0" presId="urn:microsoft.com/office/officeart/2005/8/layout/orgChart1"/>
    <dgm:cxn modelId="{FAC92A2D-F843-4932-AA06-DAC88A457C90}" type="presParOf" srcId="{F0072B6C-90FB-4989-A12E-43C5E613D759}" destId="{ABC1EEAB-127B-4DB1-84BE-541A7F9F2995}" srcOrd="1" destOrd="0" presId="urn:microsoft.com/office/officeart/2005/8/layout/orgChart1"/>
    <dgm:cxn modelId="{BEBCA335-BDFC-49B7-8E87-00B8DD11F348}" type="presParOf" srcId="{FF9C34BC-C4D8-4D5D-B3A1-3A04C16E8B5D}" destId="{F3EB92F9-1BF2-4696-9EFB-4CD70627A04C}" srcOrd="1" destOrd="0" presId="urn:microsoft.com/office/officeart/2005/8/layout/orgChart1"/>
    <dgm:cxn modelId="{AF3C5DF4-BE5B-4DEC-9C70-86DF380DA616}" type="presParOf" srcId="{F3EB92F9-1BF2-4696-9EFB-4CD70627A04C}" destId="{BDA66AC2-AF82-41AA-8BB0-A6E443846438}" srcOrd="0" destOrd="0" presId="urn:microsoft.com/office/officeart/2005/8/layout/orgChart1"/>
    <dgm:cxn modelId="{253418E2-61D5-4663-8FBF-245B9FDED182}" type="presParOf" srcId="{F3EB92F9-1BF2-4696-9EFB-4CD70627A04C}" destId="{F171921C-066B-46D3-B7B0-6C3587C25E01}" srcOrd="1" destOrd="0" presId="urn:microsoft.com/office/officeart/2005/8/layout/orgChart1"/>
    <dgm:cxn modelId="{AF2D138F-F526-4211-BFF3-4651FCA09273}" type="presParOf" srcId="{F171921C-066B-46D3-B7B0-6C3587C25E01}" destId="{07BE237C-1A0E-4426-A6F4-849887C2FBFF}" srcOrd="0" destOrd="0" presId="urn:microsoft.com/office/officeart/2005/8/layout/orgChart1"/>
    <dgm:cxn modelId="{21AB9706-BA1B-461F-94C2-69E087389F2A}" type="presParOf" srcId="{07BE237C-1A0E-4426-A6F4-849887C2FBFF}" destId="{03A80AEC-63EA-404D-89ED-AC68FEF3FBD3}" srcOrd="0" destOrd="0" presId="urn:microsoft.com/office/officeart/2005/8/layout/orgChart1"/>
    <dgm:cxn modelId="{41743FDC-1930-4636-B1D0-25B7DD961496}" type="presParOf" srcId="{07BE237C-1A0E-4426-A6F4-849887C2FBFF}" destId="{C6B557BF-BBEF-42A5-BCC6-05472C2D5069}" srcOrd="1" destOrd="0" presId="urn:microsoft.com/office/officeart/2005/8/layout/orgChart1"/>
    <dgm:cxn modelId="{1189B08A-C02C-4610-9F4E-8C534BE730F6}" type="presParOf" srcId="{F171921C-066B-46D3-B7B0-6C3587C25E01}" destId="{243889EF-C58B-4EF6-BD37-7C2DA8F0C50E}" srcOrd="1" destOrd="0" presId="urn:microsoft.com/office/officeart/2005/8/layout/orgChart1"/>
    <dgm:cxn modelId="{8843F1F4-80C0-4943-AD83-C3DCECDA6418}" type="presParOf" srcId="{243889EF-C58B-4EF6-BD37-7C2DA8F0C50E}" destId="{AC0AC4F6-3E10-43D6-B599-A536C172E41C}" srcOrd="0" destOrd="0" presId="urn:microsoft.com/office/officeart/2005/8/layout/orgChart1"/>
    <dgm:cxn modelId="{9FB8883B-7F20-4196-92DC-0C3E69205140}" type="presParOf" srcId="{243889EF-C58B-4EF6-BD37-7C2DA8F0C50E}" destId="{5DC0DCD0-D3D0-41C2-B3EF-FB64A2A48C7B}" srcOrd="1" destOrd="0" presId="urn:microsoft.com/office/officeart/2005/8/layout/orgChart1"/>
    <dgm:cxn modelId="{EDBC50F2-EC1E-40D2-B094-974C6144D929}" type="presParOf" srcId="{5DC0DCD0-D3D0-41C2-B3EF-FB64A2A48C7B}" destId="{9E8AD2F3-CC4B-4AB0-BD1C-A560940C626F}" srcOrd="0" destOrd="0" presId="urn:microsoft.com/office/officeart/2005/8/layout/orgChart1"/>
    <dgm:cxn modelId="{BC5F3489-7D1E-4D13-AE69-72A5E2BEAE1B}" type="presParOf" srcId="{9E8AD2F3-CC4B-4AB0-BD1C-A560940C626F}" destId="{853273EE-F5BA-4750-BE0E-3A41065B667F}" srcOrd="0" destOrd="0" presId="urn:microsoft.com/office/officeart/2005/8/layout/orgChart1"/>
    <dgm:cxn modelId="{4D259DF7-ED5C-4301-96AC-43F186FCC879}" type="presParOf" srcId="{9E8AD2F3-CC4B-4AB0-BD1C-A560940C626F}" destId="{84B93AC3-CFE7-4E52-832B-F406DE10BABD}" srcOrd="1" destOrd="0" presId="urn:microsoft.com/office/officeart/2005/8/layout/orgChart1"/>
    <dgm:cxn modelId="{2B227A01-46CB-47E2-885F-0EB3E3FA2C54}" type="presParOf" srcId="{5DC0DCD0-D3D0-41C2-B3EF-FB64A2A48C7B}" destId="{2749FE92-4DD3-48C5-8EDF-F156A56AA4A0}" srcOrd="1" destOrd="0" presId="urn:microsoft.com/office/officeart/2005/8/layout/orgChart1"/>
    <dgm:cxn modelId="{A64E04DE-2494-4319-93C6-037F9DEA47E1}" type="presParOf" srcId="{5DC0DCD0-D3D0-41C2-B3EF-FB64A2A48C7B}" destId="{BE4598B4-DB1A-4E86-9979-DE62B3D15D18}" srcOrd="2" destOrd="0" presId="urn:microsoft.com/office/officeart/2005/8/layout/orgChart1"/>
    <dgm:cxn modelId="{10069685-B57F-4018-A52E-83531F2F7447}" type="presParOf" srcId="{243889EF-C58B-4EF6-BD37-7C2DA8F0C50E}" destId="{3A6128EF-1F9E-4F4D-8A81-8B799C02C646}" srcOrd="2" destOrd="0" presId="urn:microsoft.com/office/officeart/2005/8/layout/orgChart1"/>
    <dgm:cxn modelId="{EFD19BC0-B63C-4F99-8AEE-9338D722D31F}" type="presParOf" srcId="{243889EF-C58B-4EF6-BD37-7C2DA8F0C50E}" destId="{8B2F96C9-FB66-4DC9-A089-5F9712035D1D}" srcOrd="3" destOrd="0" presId="urn:microsoft.com/office/officeart/2005/8/layout/orgChart1"/>
    <dgm:cxn modelId="{E92F2638-690D-46FC-ABC0-BEAD687414D7}" type="presParOf" srcId="{8B2F96C9-FB66-4DC9-A089-5F9712035D1D}" destId="{211DACB1-47DE-45C5-8933-F1DA3B976618}" srcOrd="0" destOrd="0" presId="urn:microsoft.com/office/officeart/2005/8/layout/orgChart1"/>
    <dgm:cxn modelId="{FF484581-E428-427B-81E3-8977D23EED17}" type="presParOf" srcId="{211DACB1-47DE-45C5-8933-F1DA3B976618}" destId="{CA64100C-FCAF-4C64-A57D-350718A5DFC1}" srcOrd="0" destOrd="0" presId="urn:microsoft.com/office/officeart/2005/8/layout/orgChart1"/>
    <dgm:cxn modelId="{B05C22F1-83AD-4571-8BCA-7FBE8B20D840}" type="presParOf" srcId="{211DACB1-47DE-45C5-8933-F1DA3B976618}" destId="{F8EE4DC8-900B-4F3A-8254-43BADD74B8CB}" srcOrd="1" destOrd="0" presId="urn:microsoft.com/office/officeart/2005/8/layout/orgChart1"/>
    <dgm:cxn modelId="{29B85F9B-C276-40E6-8506-529867D7943E}" type="presParOf" srcId="{8B2F96C9-FB66-4DC9-A089-5F9712035D1D}" destId="{85198A15-3D2E-443B-9573-7B8902990CDB}" srcOrd="1" destOrd="0" presId="urn:microsoft.com/office/officeart/2005/8/layout/orgChart1"/>
    <dgm:cxn modelId="{78F985EB-79AB-4B2B-BC05-C0A1A52C631C}" type="presParOf" srcId="{8B2F96C9-FB66-4DC9-A089-5F9712035D1D}" destId="{D9181543-D403-4550-B2D7-E91592F6AC84}" srcOrd="2" destOrd="0" presId="urn:microsoft.com/office/officeart/2005/8/layout/orgChart1"/>
    <dgm:cxn modelId="{39560A1E-6C9E-4C81-B0AA-DC6D43825E03}" type="presParOf" srcId="{243889EF-C58B-4EF6-BD37-7C2DA8F0C50E}" destId="{5CF8CF4F-6D14-4AF1-A691-F2B4F6E1E9AA}" srcOrd="4" destOrd="0" presId="urn:microsoft.com/office/officeart/2005/8/layout/orgChart1"/>
    <dgm:cxn modelId="{FEB2FE86-16F0-47B8-9874-AF8BDFCCD620}" type="presParOf" srcId="{243889EF-C58B-4EF6-BD37-7C2DA8F0C50E}" destId="{B8CFC23E-BCDF-4705-9FE1-1CF2C5C74D96}" srcOrd="5" destOrd="0" presId="urn:microsoft.com/office/officeart/2005/8/layout/orgChart1"/>
    <dgm:cxn modelId="{EC5F75B9-5C01-404B-82E1-C7F26244849F}" type="presParOf" srcId="{B8CFC23E-BCDF-4705-9FE1-1CF2C5C74D96}" destId="{05AADCFB-2A01-47FB-9E11-1E00362843CB}" srcOrd="0" destOrd="0" presId="urn:microsoft.com/office/officeart/2005/8/layout/orgChart1"/>
    <dgm:cxn modelId="{3EE8C3C0-EBC1-497A-B9C6-C3D2A37D735B}" type="presParOf" srcId="{05AADCFB-2A01-47FB-9E11-1E00362843CB}" destId="{39351BEF-EE2D-489A-825B-9F228110664E}" srcOrd="0" destOrd="0" presId="urn:microsoft.com/office/officeart/2005/8/layout/orgChart1"/>
    <dgm:cxn modelId="{CF825284-FB29-4DFD-BA00-EC8CA1A95BE4}" type="presParOf" srcId="{05AADCFB-2A01-47FB-9E11-1E00362843CB}" destId="{1217C202-F47B-4C38-B748-54203D5D4CA2}" srcOrd="1" destOrd="0" presId="urn:microsoft.com/office/officeart/2005/8/layout/orgChart1"/>
    <dgm:cxn modelId="{BB810CA5-0263-4FBC-B893-38A27F9E89B6}" type="presParOf" srcId="{B8CFC23E-BCDF-4705-9FE1-1CF2C5C74D96}" destId="{99543AC3-7F3B-4D3D-AE03-1DC74F88B320}" srcOrd="1" destOrd="0" presId="urn:microsoft.com/office/officeart/2005/8/layout/orgChart1"/>
    <dgm:cxn modelId="{3683365C-0385-47F0-8B6C-7C0CBEBE903C}" type="presParOf" srcId="{B8CFC23E-BCDF-4705-9FE1-1CF2C5C74D96}" destId="{CF8964FD-26D3-4783-A056-E1C6C796806B}" srcOrd="2" destOrd="0" presId="urn:microsoft.com/office/officeart/2005/8/layout/orgChart1"/>
    <dgm:cxn modelId="{1BC64F52-42D9-4298-A876-5704F1C2161C}" type="presParOf" srcId="{243889EF-C58B-4EF6-BD37-7C2DA8F0C50E}" destId="{995C0620-57B5-49D4-B5B1-464F2E5111CB}" srcOrd="6" destOrd="0" presId="urn:microsoft.com/office/officeart/2005/8/layout/orgChart1"/>
    <dgm:cxn modelId="{F88AAB5A-BBCE-4666-AC84-9BAE5B670F8B}" type="presParOf" srcId="{243889EF-C58B-4EF6-BD37-7C2DA8F0C50E}" destId="{5E5275B6-1D33-4A68-9AA6-34FE757A0FB7}" srcOrd="7" destOrd="0" presId="urn:microsoft.com/office/officeart/2005/8/layout/orgChart1"/>
    <dgm:cxn modelId="{F663762E-0336-4774-A197-89A16622B5D7}" type="presParOf" srcId="{5E5275B6-1D33-4A68-9AA6-34FE757A0FB7}" destId="{8A433750-CC8C-495B-8298-63540AE8082A}" srcOrd="0" destOrd="0" presId="urn:microsoft.com/office/officeart/2005/8/layout/orgChart1"/>
    <dgm:cxn modelId="{C0357A69-1C82-4ABA-A6B8-49608EF59F0A}" type="presParOf" srcId="{8A433750-CC8C-495B-8298-63540AE8082A}" destId="{7A142F68-1203-47DD-A907-62D4368696B1}" srcOrd="0" destOrd="0" presId="urn:microsoft.com/office/officeart/2005/8/layout/orgChart1"/>
    <dgm:cxn modelId="{6CCE3720-51DD-4107-B3B4-EE7EC0BCCA87}" type="presParOf" srcId="{8A433750-CC8C-495B-8298-63540AE8082A}" destId="{0715D6DD-DA84-49C3-B3F5-721A39108A68}" srcOrd="1" destOrd="0" presId="urn:microsoft.com/office/officeart/2005/8/layout/orgChart1"/>
    <dgm:cxn modelId="{4C15070A-7BBD-4648-9957-4FC2DD85C8BC}" type="presParOf" srcId="{5E5275B6-1D33-4A68-9AA6-34FE757A0FB7}" destId="{9EA95D65-0521-4C2D-B72D-0A70CCE1D6EE}" srcOrd="1" destOrd="0" presId="urn:microsoft.com/office/officeart/2005/8/layout/orgChart1"/>
    <dgm:cxn modelId="{2CC603DA-2928-4B8F-A104-0727531E6799}" type="presParOf" srcId="{5E5275B6-1D33-4A68-9AA6-34FE757A0FB7}" destId="{C1BDE980-8CF1-4C38-AC4B-96CAF88B6280}" srcOrd="2" destOrd="0" presId="urn:microsoft.com/office/officeart/2005/8/layout/orgChart1"/>
    <dgm:cxn modelId="{42ACD167-D4B4-4D1F-B6ED-4A3D06569F00}" type="presParOf" srcId="{F171921C-066B-46D3-B7B0-6C3587C25E01}" destId="{7FF2FFE1-DD76-4FF5-ACAA-70127B36A9D7}" srcOrd="2" destOrd="0" presId="urn:microsoft.com/office/officeart/2005/8/layout/orgChart1"/>
    <dgm:cxn modelId="{DCB04B19-5CBE-4CC7-83BE-934978CAE70E}" type="presParOf" srcId="{F3EB92F9-1BF2-4696-9EFB-4CD70627A04C}" destId="{12996719-4865-4ED0-99DC-3AA4D20193A2}" srcOrd="2" destOrd="0" presId="urn:microsoft.com/office/officeart/2005/8/layout/orgChart1"/>
    <dgm:cxn modelId="{FE350897-BDB6-46E3-AEEE-832A03C835A7}" type="presParOf" srcId="{F3EB92F9-1BF2-4696-9EFB-4CD70627A04C}" destId="{934CE930-6208-4C67-857B-55081EC1B2B5}" srcOrd="3" destOrd="0" presId="urn:microsoft.com/office/officeart/2005/8/layout/orgChart1"/>
    <dgm:cxn modelId="{93EA6874-1DE8-4BB6-BCF7-E4428A7FB10B}" type="presParOf" srcId="{934CE930-6208-4C67-857B-55081EC1B2B5}" destId="{FC8FC8A4-DC98-42BB-986D-0D31EA13A356}" srcOrd="0" destOrd="0" presId="urn:microsoft.com/office/officeart/2005/8/layout/orgChart1"/>
    <dgm:cxn modelId="{2F559870-79E2-4763-93C3-81975E20F728}" type="presParOf" srcId="{FC8FC8A4-DC98-42BB-986D-0D31EA13A356}" destId="{0A82C679-9E5A-470A-8EFD-62AC9446E439}" srcOrd="0" destOrd="0" presId="urn:microsoft.com/office/officeart/2005/8/layout/orgChart1"/>
    <dgm:cxn modelId="{56D2B2BB-4771-4D91-8361-8230CB8A7D47}" type="presParOf" srcId="{FC8FC8A4-DC98-42BB-986D-0D31EA13A356}" destId="{FD149CC2-D645-4764-8BFA-D0071A33F6B3}" srcOrd="1" destOrd="0" presId="urn:microsoft.com/office/officeart/2005/8/layout/orgChart1"/>
    <dgm:cxn modelId="{78005C01-E2E6-4649-B6C5-8C0E01EE668C}" type="presParOf" srcId="{934CE930-6208-4C67-857B-55081EC1B2B5}" destId="{5DE83C9D-7DBB-4B5A-9970-A8C9A9EEE792}" srcOrd="1" destOrd="0" presId="urn:microsoft.com/office/officeart/2005/8/layout/orgChart1"/>
    <dgm:cxn modelId="{B46369D1-A5B2-4A8F-8B0E-AE5156E684D9}" type="presParOf" srcId="{5DE83C9D-7DBB-4B5A-9970-A8C9A9EEE792}" destId="{CB306A02-B401-4768-BF18-4D2C75246F9B}" srcOrd="0" destOrd="0" presId="urn:microsoft.com/office/officeart/2005/8/layout/orgChart1"/>
    <dgm:cxn modelId="{F001A82B-EE57-4D23-8B8E-F8C170E18551}" type="presParOf" srcId="{5DE83C9D-7DBB-4B5A-9970-A8C9A9EEE792}" destId="{D51EEEEB-CB84-4213-8AEA-D9D76DE6F8DC}" srcOrd="1" destOrd="0" presId="urn:microsoft.com/office/officeart/2005/8/layout/orgChart1"/>
    <dgm:cxn modelId="{C94E01CE-2592-4C58-A220-6411A8C08E02}" type="presParOf" srcId="{D51EEEEB-CB84-4213-8AEA-D9D76DE6F8DC}" destId="{1CCB653C-5787-4B17-A2C6-879968CAE07F}" srcOrd="0" destOrd="0" presId="urn:microsoft.com/office/officeart/2005/8/layout/orgChart1"/>
    <dgm:cxn modelId="{2360B9CB-87DF-4EAA-8658-BB6427ED15CF}" type="presParOf" srcId="{1CCB653C-5787-4B17-A2C6-879968CAE07F}" destId="{E2BBB827-A8F3-4492-BEB9-474F8DBECC77}" srcOrd="0" destOrd="0" presId="urn:microsoft.com/office/officeart/2005/8/layout/orgChart1"/>
    <dgm:cxn modelId="{4014C5C9-5ACC-49A4-86E7-1486948A2706}" type="presParOf" srcId="{1CCB653C-5787-4B17-A2C6-879968CAE07F}" destId="{DCF9D9A4-95B3-437B-8F59-B1F785D2A225}" srcOrd="1" destOrd="0" presId="urn:microsoft.com/office/officeart/2005/8/layout/orgChart1"/>
    <dgm:cxn modelId="{A549EA3C-157B-44D7-8311-3329000EE9E4}" type="presParOf" srcId="{D51EEEEB-CB84-4213-8AEA-D9D76DE6F8DC}" destId="{C31E464F-9AE1-419C-8486-AFB7B56281A5}" srcOrd="1" destOrd="0" presId="urn:microsoft.com/office/officeart/2005/8/layout/orgChart1"/>
    <dgm:cxn modelId="{06A94FC6-CBF4-4288-94D2-DA02A257C497}" type="presParOf" srcId="{D51EEEEB-CB84-4213-8AEA-D9D76DE6F8DC}" destId="{92B61419-8AFD-4FA1-8E75-869A3A7AAF21}" srcOrd="2" destOrd="0" presId="urn:microsoft.com/office/officeart/2005/8/layout/orgChart1"/>
    <dgm:cxn modelId="{A163BC32-97C4-4037-ADDE-9677467E914E}" type="presParOf" srcId="{5DE83C9D-7DBB-4B5A-9970-A8C9A9EEE792}" destId="{9E1404F1-F1FF-4AC0-BE41-783CB2770D67}" srcOrd="2" destOrd="0" presId="urn:microsoft.com/office/officeart/2005/8/layout/orgChart1"/>
    <dgm:cxn modelId="{9C00136D-32C8-45EF-A71C-894633495E2E}" type="presParOf" srcId="{5DE83C9D-7DBB-4B5A-9970-A8C9A9EEE792}" destId="{983A13A2-7EE6-4F33-9B37-4785DA8FC441}" srcOrd="3" destOrd="0" presId="urn:microsoft.com/office/officeart/2005/8/layout/orgChart1"/>
    <dgm:cxn modelId="{B713A85F-5EED-4E6A-A378-352D4193D7F9}" type="presParOf" srcId="{983A13A2-7EE6-4F33-9B37-4785DA8FC441}" destId="{5CEEC2ED-8F31-4363-9637-5ACFF4107827}" srcOrd="0" destOrd="0" presId="urn:microsoft.com/office/officeart/2005/8/layout/orgChart1"/>
    <dgm:cxn modelId="{82ADAA36-C3B8-4BB6-B938-F9EF3D5CA0CE}" type="presParOf" srcId="{5CEEC2ED-8F31-4363-9637-5ACFF4107827}" destId="{C26110A6-2E7C-4529-940C-BF74785AE43C}" srcOrd="0" destOrd="0" presId="urn:microsoft.com/office/officeart/2005/8/layout/orgChart1"/>
    <dgm:cxn modelId="{456DCF82-729F-4B58-BB8F-380CFB95B260}" type="presParOf" srcId="{5CEEC2ED-8F31-4363-9637-5ACFF4107827}" destId="{E5D4C192-0D32-4BBD-9A25-FE7684013ACC}" srcOrd="1" destOrd="0" presId="urn:microsoft.com/office/officeart/2005/8/layout/orgChart1"/>
    <dgm:cxn modelId="{1A0527B6-E050-4FC3-B062-7F7354430BAE}" type="presParOf" srcId="{983A13A2-7EE6-4F33-9B37-4785DA8FC441}" destId="{643337B4-53F8-49D5-A948-11B927A247F4}" srcOrd="1" destOrd="0" presId="urn:microsoft.com/office/officeart/2005/8/layout/orgChart1"/>
    <dgm:cxn modelId="{B18B479C-631E-4C95-8C2F-00028348AB00}" type="presParOf" srcId="{983A13A2-7EE6-4F33-9B37-4785DA8FC441}" destId="{A0F85A96-B972-47BC-9DB9-129B816B1FE6}" srcOrd="2" destOrd="0" presId="urn:microsoft.com/office/officeart/2005/8/layout/orgChart1"/>
    <dgm:cxn modelId="{EAAA7B63-1B06-4B40-AA4D-862FE2B121F0}" type="presParOf" srcId="{5DE83C9D-7DBB-4B5A-9970-A8C9A9EEE792}" destId="{572DDEF9-2C8B-4D54-998B-15FAD3DD85C0}" srcOrd="4" destOrd="0" presId="urn:microsoft.com/office/officeart/2005/8/layout/orgChart1"/>
    <dgm:cxn modelId="{027D9B75-7879-4CBF-871B-C260A4B8FD9C}" type="presParOf" srcId="{5DE83C9D-7DBB-4B5A-9970-A8C9A9EEE792}" destId="{5EFE0867-C9C9-4668-82A1-5B072AF9118C}" srcOrd="5" destOrd="0" presId="urn:microsoft.com/office/officeart/2005/8/layout/orgChart1"/>
    <dgm:cxn modelId="{94B62F22-4791-4ED0-BD4C-A6F8D9EA00FD}" type="presParOf" srcId="{5EFE0867-C9C9-4668-82A1-5B072AF9118C}" destId="{B1CD8494-E1E2-476B-95AC-7DCA56FE7CFC}" srcOrd="0" destOrd="0" presId="urn:microsoft.com/office/officeart/2005/8/layout/orgChart1"/>
    <dgm:cxn modelId="{E41F599D-408E-47C3-A0C6-F5F220930E62}" type="presParOf" srcId="{B1CD8494-E1E2-476B-95AC-7DCA56FE7CFC}" destId="{8B4215AC-5A34-4CEB-B75A-BD7E237422C5}" srcOrd="0" destOrd="0" presId="urn:microsoft.com/office/officeart/2005/8/layout/orgChart1"/>
    <dgm:cxn modelId="{FD9ECB93-64B3-4976-A070-9FC116F594BE}" type="presParOf" srcId="{B1CD8494-E1E2-476B-95AC-7DCA56FE7CFC}" destId="{4218F61C-07EE-42AF-B753-673D0646C0AF}" srcOrd="1" destOrd="0" presId="urn:microsoft.com/office/officeart/2005/8/layout/orgChart1"/>
    <dgm:cxn modelId="{DD6BA4DB-BB80-4B9B-8383-8B0033BE6A9A}" type="presParOf" srcId="{5EFE0867-C9C9-4668-82A1-5B072AF9118C}" destId="{9CC29E77-53DA-4D9A-96DE-F7753D9B8D94}" srcOrd="1" destOrd="0" presId="urn:microsoft.com/office/officeart/2005/8/layout/orgChart1"/>
    <dgm:cxn modelId="{4C3BF2EF-B4BA-43AF-AC6E-E306F879CE30}" type="presParOf" srcId="{5EFE0867-C9C9-4668-82A1-5B072AF9118C}" destId="{04639D8C-DB3C-4DEF-B6EA-3978FBC41656}" srcOrd="2" destOrd="0" presId="urn:microsoft.com/office/officeart/2005/8/layout/orgChart1"/>
    <dgm:cxn modelId="{16FB1001-DCB2-4F13-9BE6-A2395C114D51}" type="presParOf" srcId="{5DE83C9D-7DBB-4B5A-9970-A8C9A9EEE792}" destId="{6CA9DFE1-8853-4B34-96A6-8A02642C4EB6}" srcOrd="6" destOrd="0" presId="urn:microsoft.com/office/officeart/2005/8/layout/orgChart1"/>
    <dgm:cxn modelId="{3719A4C8-ED7B-46BF-8B58-658490133197}" type="presParOf" srcId="{5DE83C9D-7DBB-4B5A-9970-A8C9A9EEE792}" destId="{11421CA8-D4FE-49F1-B069-8F36E100C518}" srcOrd="7" destOrd="0" presId="urn:microsoft.com/office/officeart/2005/8/layout/orgChart1"/>
    <dgm:cxn modelId="{EC414456-B116-442D-80D9-DDC9F950356C}" type="presParOf" srcId="{11421CA8-D4FE-49F1-B069-8F36E100C518}" destId="{E43423CF-0B0F-47C1-800A-38177DBBD3BF}" srcOrd="0" destOrd="0" presId="urn:microsoft.com/office/officeart/2005/8/layout/orgChart1"/>
    <dgm:cxn modelId="{563DCCA1-7D6C-4BA7-89AA-8BFCBF713BCF}" type="presParOf" srcId="{E43423CF-0B0F-47C1-800A-38177DBBD3BF}" destId="{C09BD7AB-F1B5-472F-9C34-7E998F287E98}" srcOrd="0" destOrd="0" presId="urn:microsoft.com/office/officeart/2005/8/layout/orgChart1"/>
    <dgm:cxn modelId="{DB19BBD0-C40F-42DF-A354-285944CEF4AC}" type="presParOf" srcId="{E43423CF-0B0F-47C1-800A-38177DBBD3BF}" destId="{1392C2D4-28DC-4C37-B863-46D533191E97}" srcOrd="1" destOrd="0" presId="urn:microsoft.com/office/officeart/2005/8/layout/orgChart1"/>
    <dgm:cxn modelId="{D9E480D1-B59F-4F82-B949-D1B4FB05F1D4}" type="presParOf" srcId="{11421CA8-D4FE-49F1-B069-8F36E100C518}" destId="{7BC20785-0E63-4A82-9191-3C9EFD99977C}" srcOrd="1" destOrd="0" presId="urn:microsoft.com/office/officeart/2005/8/layout/orgChart1"/>
    <dgm:cxn modelId="{BCF22537-5BB2-4E1E-8B66-D3FBB80749B8}" type="presParOf" srcId="{11421CA8-D4FE-49F1-B069-8F36E100C518}" destId="{52CB21F3-D1FA-4F07-90D8-57136F126A7B}" srcOrd="2" destOrd="0" presId="urn:microsoft.com/office/officeart/2005/8/layout/orgChart1"/>
    <dgm:cxn modelId="{0E381B4C-4595-42C2-97D3-793BF34632CE}" type="presParOf" srcId="{5DE83C9D-7DBB-4B5A-9970-A8C9A9EEE792}" destId="{D5AB3F1C-F9A0-41B7-B854-83CB1EC31A3A}" srcOrd="8" destOrd="0" presId="urn:microsoft.com/office/officeart/2005/8/layout/orgChart1"/>
    <dgm:cxn modelId="{3B2B3397-5BFB-47DE-8311-E818B304FCA5}" type="presParOf" srcId="{5DE83C9D-7DBB-4B5A-9970-A8C9A9EEE792}" destId="{756AF2CE-EDEF-485D-A012-FDFE9476CBDC}" srcOrd="9" destOrd="0" presId="urn:microsoft.com/office/officeart/2005/8/layout/orgChart1"/>
    <dgm:cxn modelId="{C2F10FED-2481-4530-85E5-5E21788BDE68}" type="presParOf" srcId="{756AF2CE-EDEF-485D-A012-FDFE9476CBDC}" destId="{216D20C7-E985-4297-87B9-11C2C7E33499}" srcOrd="0" destOrd="0" presId="urn:microsoft.com/office/officeart/2005/8/layout/orgChart1"/>
    <dgm:cxn modelId="{DD864EB9-8498-4D68-9E57-371378E5983C}" type="presParOf" srcId="{216D20C7-E985-4297-87B9-11C2C7E33499}" destId="{4D473041-9990-45DF-9E03-DB1256FE4D92}" srcOrd="0" destOrd="0" presId="urn:microsoft.com/office/officeart/2005/8/layout/orgChart1"/>
    <dgm:cxn modelId="{9AC09D7C-8C49-4AF5-8860-5BC26BCDE910}" type="presParOf" srcId="{216D20C7-E985-4297-87B9-11C2C7E33499}" destId="{A613FD52-6448-47F5-A2F7-39EB153494C6}" srcOrd="1" destOrd="0" presId="urn:microsoft.com/office/officeart/2005/8/layout/orgChart1"/>
    <dgm:cxn modelId="{57800881-96D5-4C2D-B356-7E027E6D8E30}" type="presParOf" srcId="{756AF2CE-EDEF-485D-A012-FDFE9476CBDC}" destId="{C583BDD4-B830-4829-8D8F-5F99EC5F0600}" srcOrd="1" destOrd="0" presId="urn:microsoft.com/office/officeart/2005/8/layout/orgChart1"/>
    <dgm:cxn modelId="{082591C5-CE90-4DFF-BB13-A60B54A6B52C}" type="presParOf" srcId="{756AF2CE-EDEF-485D-A012-FDFE9476CBDC}" destId="{1D502BA1-E135-44E0-88D2-34D577EDBCEB}" srcOrd="2" destOrd="0" presId="urn:microsoft.com/office/officeart/2005/8/layout/orgChart1"/>
    <dgm:cxn modelId="{B66F36B3-44AC-4846-ABF4-80AEE0B9DB16}" type="presParOf" srcId="{5DE83C9D-7DBB-4B5A-9970-A8C9A9EEE792}" destId="{690405CC-C094-4D7B-888F-75D3FA95A2E2}" srcOrd="10" destOrd="0" presId="urn:microsoft.com/office/officeart/2005/8/layout/orgChart1"/>
    <dgm:cxn modelId="{D283A130-F9C8-4FF1-96A6-3AF2FEC00D8D}" type="presParOf" srcId="{5DE83C9D-7DBB-4B5A-9970-A8C9A9EEE792}" destId="{02B0F0B0-E11E-4DBD-9833-6F064051837B}" srcOrd="11" destOrd="0" presId="urn:microsoft.com/office/officeart/2005/8/layout/orgChart1"/>
    <dgm:cxn modelId="{EDF1DC0E-9BD0-4B4D-B46D-FBBFC064C9F6}" type="presParOf" srcId="{02B0F0B0-E11E-4DBD-9833-6F064051837B}" destId="{A54950AA-C875-4E29-A9A0-7FC3D3EC2263}" srcOrd="0" destOrd="0" presId="urn:microsoft.com/office/officeart/2005/8/layout/orgChart1"/>
    <dgm:cxn modelId="{FD8BF58F-A965-4ECC-925E-4FF66A508065}" type="presParOf" srcId="{A54950AA-C875-4E29-A9A0-7FC3D3EC2263}" destId="{6141218C-D47A-483B-AEBE-5A2D6874DE19}" srcOrd="0" destOrd="0" presId="urn:microsoft.com/office/officeart/2005/8/layout/orgChart1"/>
    <dgm:cxn modelId="{A420AA16-20B4-4963-93F1-028F12123143}" type="presParOf" srcId="{A54950AA-C875-4E29-A9A0-7FC3D3EC2263}" destId="{E443525E-8371-4FD7-ACEF-2B8CB22FBCF1}" srcOrd="1" destOrd="0" presId="urn:microsoft.com/office/officeart/2005/8/layout/orgChart1"/>
    <dgm:cxn modelId="{1EF69AB3-DE75-40FE-9D7F-29A705975411}" type="presParOf" srcId="{02B0F0B0-E11E-4DBD-9833-6F064051837B}" destId="{EC2C10C8-F884-47AE-A4D9-19192A79165D}" srcOrd="1" destOrd="0" presId="urn:microsoft.com/office/officeart/2005/8/layout/orgChart1"/>
    <dgm:cxn modelId="{04A20436-03DF-4C50-A959-5C8B6BAE8BDB}" type="presParOf" srcId="{02B0F0B0-E11E-4DBD-9833-6F064051837B}" destId="{10D23D12-865B-4E1D-AA5E-CC59E10B2010}" srcOrd="2" destOrd="0" presId="urn:microsoft.com/office/officeart/2005/8/layout/orgChart1"/>
    <dgm:cxn modelId="{D0CBA476-6EE7-47FA-AF2B-C93E32226645}" type="presParOf" srcId="{5DE83C9D-7DBB-4B5A-9970-A8C9A9EEE792}" destId="{1A9E8545-5DAE-4049-9ADA-6BA96EB17989}" srcOrd="12" destOrd="0" presId="urn:microsoft.com/office/officeart/2005/8/layout/orgChart1"/>
    <dgm:cxn modelId="{4B078375-9843-4A27-992C-0FD6DBCF6B52}" type="presParOf" srcId="{5DE83C9D-7DBB-4B5A-9970-A8C9A9EEE792}" destId="{8ACC20F3-7234-4DF5-83FE-AF7EBCA0E150}" srcOrd="13" destOrd="0" presId="urn:microsoft.com/office/officeart/2005/8/layout/orgChart1"/>
    <dgm:cxn modelId="{4176BD6A-1F1A-4A47-B312-AEE9E6606086}" type="presParOf" srcId="{8ACC20F3-7234-4DF5-83FE-AF7EBCA0E150}" destId="{68484176-0CB4-413F-A0AF-DB96EFC1ECC0}" srcOrd="0" destOrd="0" presId="urn:microsoft.com/office/officeart/2005/8/layout/orgChart1"/>
    <dgm:cxn modelId="{622855BD-AAE4-48EF-9250-42E31442689A}" type="presParOf" srcId="{68484176-0CB4-413F-A0AF-DB96EFC1ECC0}" destId="{348A1882-0AB3-4DD9-BE67-32BEF6683820}" srcOrd="0" destOrd="0" presId="urn:microsoft.com/office/officeart/2005/8/layout/orgChart1"/>
    <dgm:cxn modelId="{9ABAAF60-5312-42B6-948B-DDF77CC0DB35}" type="presParOf" srcId="{68484176-0CB4-413F-A0AF-DB96EFC1ECC0}" destId="{FB3C26BC-6BD0-4CF3-B59D-3DE015DBA610}" srcOrd="1" destOrd="0" presId="urn:microsoft.com/office/officeart/2005/8/layout/orgChart1"/>
    <dgm:cxn modelId="{593143AD-C0EB-42F9-9E22-5A837CF20C66}" type="presParOf" srcId="{8ACC20F3-7234-4DF5-83FE-AF7EBCA0E150}" destId="{8EC63327-462A-4EB8-9F84-54CBCD54A911}" srcOrd="1" destOrd="0" presId="urn:microsoft.com/office/officeart/2005/8/layout/orgChart1"/>
    <dgm:cxn modelId="{10715061-4A45-4E00-9850-14EA4206E62C}" type="presParOf" srcId="{8ACC20F3-7234-4DF5-83FE-AF7EBCA0E150}" destId="{5E63BCCC-7983-4BC8-A6A9-7EF221EBB6FE}" srcOrd="2" destOrd="0" presId="urn:microsoft.com/office/officeart/2005/8/layout/orgChart1"/>
    <dgm:cxn modelId="{F26D099C-FCDA-430D-9436-13A74235312C}" type="presParOf" srcId="{5DE83C9D-7DBB-4B5A-9970-A8C9A9EEE792}" destId="{9CF823C3-E2AE-4621-8BB1-D874228930A1}" srcOrd="14" destOrd="0" presId="urn:microsoft.com/office/officeart/2005/8/layout/orgChart1"/>
    <dgm:cxn modelId="{0AB1DF3F-44F0-4E60-9D65-A124B8DDB467}" type="presParOf" srcId="{5DE83C9D-7DBB-4B5A-9970-A8C9A9EEE792}" destId="{2B0098EA-8814-4D6A-9B3C-19ABFEEC93E5}" srcOrd="15" destOrd="0" presId="urn:microsoft.com/office/officeart/2005/8/layout/orgChart1"/>
    <dgm:cxn modelId="{FECD56B8-EC90-4499-837D-7754E8E3530C}" type="presParOf" srcId="{2B0098EA-8814-4D6A-9B3C-19ABFEEC93E5}" destId="{7575F8E1-A681-4377-80C9-D6DD59E4FD25}" srcOrd="0" destOrd="0" presId="urn:microsoft.com/office/officeart/2005/8/layout/orgChart1"/>
    <dgm:cxn modelId="{2C9BF952-4760-4770-9DC2-5B4B639528FA}" type="presParOf" srcId="{7575F8E1-A681-4377-80C9-D6DD59E4FD25}" destId="{954625B2-9167-4EB8-81AA-73D276AB7423}" srcOrd="0" destOrd="0" presId="urn:microsoft.com/office/officeart/2005/8/layout/orgChart1"/>
    <dgm:cxn modelId="{FBAE2605-B2EE-48C6-B9BB-77322FE9CA0D}" type="presParOf" srcId="{7575F8E1-A681-4377-80C9-D6DD59E4FD25}" destId="{7EF881D2-AA26-4D69-A87A-6019CC7D3256}" srcOrd="1" destOrd="0" presId="urn:microsoft.com/office/officeart/2005/8/layout/orgChart1"/>
    <dgm:cxn modelId="{C14799D3-628E-4F25-9154-385127793028}" type="presParOf" srcId="{2B0098EA-8814-4D6A-9B3C-19ABFEEC93E5}" destId="{FE7F20FE-7C6A-4FB9-AB8A-014B0CADE8B1}" srcOrd="1" destOrd="0" presId="urn:microsoft.com/office/officeart/2005/8/layout/orgChart1"/>
    <dgm:cxn modelId="{8835F84C-A903-4D08-914A-DB2A984A1E98}" type="presParOf" srcId="{2B0098EA-8814-4D6A-9B3C-19ABFEEC93E5}" destId="{82023A82-6094-4A87-82D1-188216538464}" srcOrd="2" destOrd="0" presId="urn:microsoft.com/office/officeart/2005/8/layout/orgChart1"/>
    <dgm:cxn modelId="{05DF030B-828B-49AA-8B9C-77BFB94973C8}" type="presParOf" srcId="{934CE930-6208-4C67-857B-55081EC1B2B5}" destId="{E0245DAA-680A-4915-938E-31AA02B5DB8A}" srcOrd="2" destOrd="0" presId="urn:microsoft.com/office/officeart/2005/8/layout/orgChart1"/>
    <dgm:cxn modelId="{C57DBC04-7A9A-45C3-8AC1-DE0B6BEC42AC}" type="presParOf" srcId="{FF9C34BC-C4D8-4D5D-B3A1-3A04C16E8B5D}" destId="{83578E5C-3977-4843-B776-8E2A7071DF10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2F9FE7-A559-4ED7-8B1E-CDBB9EE4176B}">
      <dsp:nvSpPr>
        <dsp:cNvPr id="0" name=""/>
        <dsp:cNvSpPr/>
      </dsp:nvSpPr>
      <dsp:spPr>
        <a:xfrm>
          <a:off x="31446" y="131381"/>
          <a:ext cx="1502844" cy="90796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Методология взаимодействия участников</a:t>
          </a:r>
          <a:endParaRPr lang="ru-RU" sz="1200" kern="1200" dirty="0"/>
        </a:p>
      </dsp:txBody>
      <dsp:txXfrm>
        <a:off x="58039" y="157974"/>
        <a:ext cx="1449658" cy="854776"/>
      </dsp:txXfrm>
    </dsp:sp>
    <dsp:sp modelId="{23A27AAA-ADCE-4C05-A7CC-0E3758F21B02}">
      <dsp:nvSpPr>
        <dsp:cNvPr id="0" name=""/>
        <dsp:cNvSpPr/>
      </dsp:nvSpPr>
      <dsp:spPr>
        <a:xfrm>
          <a:off x="181730" y="1039343"/>
          <a:ext cx="119891" cy="72828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28287"/>
              </a:lnTo>
              <a:lnTo>
                <a:pt x="119891" y="728287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B35B43E-7EA3-4AC4-B2AC-4B609585CE9B}">
      <dsp:nvSpPr>
        <dsp:cNvPr id="0" name=""/>
        <dsp:cNvSpPr/>
      </dsp:nvSpPr>
      <dsp:spPr>
        <a:xfrm>
          <a:off x="301622" y="1385979"/>
          <a:ext cx="1341817" cy="763304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Определение финансовых ежегодных показателей </a:t>
          </a:r>
          <a:endParaRPr lang="ru-RU" sz="1200" kern="1200" dirty="0"/>
        </a:p>
      </dsp:txBody>
      <dsp:txXfrm>
        <a:off x="323978" y="1408335"/>
        <a:ext cx="1297105" cy="718592"/>
      </dsp:txXfrm>
    </dsp:sp>
    <dsp:sp modelId="{B8E1C1EF-2E40-4A17-BAEC-1614A8267C5E}">
      <dsp:nvSpPr>
        <dsp:cNvPr id="0" name=""/>
        <dsp:cNvSpPr/>
      </dsp:nvSpPr>
      <dsp:spPr>
        <a:xfrm>
          <a:off x="181730" y="1039343"/>
          <a:ext cx="119891" cy="192970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29704"/>
              </a:lnTo>
              <a:lnTo>
                <a:pt x="119891" y="1929704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D79DBB-39AD-4BE4-AEAE-015DED3D28FC}">
      <dsp:nvSpPr>
        <dsp:cNvPr id="0" name=""/>
        <dsp:cNvSpPr/>
      </dsp:nvSpPr>
      <dsp:spPr>
        <a:xfrm>
          <a:off x="301622" y="2495919"/>
          <a:ext cx="1350247" cy="946258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Разграничение ролей, делегирование экспертов</a:t>
          </a:r>
          <a:endParaRPr lang="ru-RU" sz="1200" kern="1200" dirty="0"/>
        </a:p>
      </dsp:txBody>
      <dsp:txXfrm>
        <a:off x="329337" y="2523634"/>
        <a:ext cx="1294817" cy="890828"/>
      </dsp:txXfrm>
    </dsp:sp>
    <dsp:sp modelId="{10CF430F-A0D2-4E76-AC3F-BAE875331B30}">
      <dsp:nvSpPr>
        <dsp:cNvPr id="0" name=""/>
        <dsp:cNvSpPr/>
      </dsp:nvSpPr>
      <dsp:spPr>
        <a:xfrm>
          <a:off x="181730" y="1039343"/>
          <a:ext cx="119891" cy="317888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78881"/>
              </a:lnTo>
              <a:lnTo>
                <a:pt x="119891" y="3178881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60AF380-EBCA-4E81-94C8-C69D6F028EB6}">
      <dsp:nvSpPr>
        <dsp:cNvPr id="0" name=""/>
        <dsp:cNvSpPr/>
      </dsp:nvSpPr>
      <dsp:spPr>
        <a:xfrm>
          <a:off x="301622" y="3788813"/>
          <a:ext cx="1622563" cy="858823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Определение методики утверждения плана мероприятий</a:t>
          </a:r>
          <a:endParaRPr lang="ru-RU" sz="1200" kern="1200" dirty="0"/>
        </a:p>
      </dsp:txBody>
      <dsp:txXfrm>
        <a:off x="326776" y="3813967"/>
        <a:ext cx="1572255" cy="808515"/>
      </dsp:txXfrm>
    </dsp:sp>
    <dsp:sp modelId="{28EF2C37-B302-4212-8451-3138667F6DE0}">
      <dsp:nvSpPr>
        <dsp:cNvPr id="0" name=""/>
        <dsp:cNvSpPr/>
      </dsp:nvSpPr>
      <dsp:spPr>
        <a:xfrm>
          <a:off x="1889550" y="112371"/>
          <a:ext cx="1596047" cy="98463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Электронный сводный каталог стандартов зеленых насаждений</a:t>
          </a:r>
          <a:endParaRPr lang="ru-RU" sz="1200" kern="1200" dirty="0"/>
        </a:p>
      </dsp:txBody>
      <dsp:txXfrm>
        <a:off x="1918389" y="141210"/>
        <a:ext cx="1538369" cy="926960"/>
      </dsp:txXfrm>
    </dsp:sp>
    <dsp:sp modelId="{63C42A56-470A-4A3E-A467-66AD301AFFE8}">
      <dsp:nvSpPr>
        <dsp:cNvPr id="0" name=""/>
        <dsp:cNvSpPr/>
      </dsp:nvSpPr>
      <dsp:spPr>
        <a:xfrm>
          <a:off x="2049155" y="1097010"/>
          <a:ext cx="261842" cy="7294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29431"/>
              </a:lnTo>
              <a:lnTo>
                <a:pt x="261842" y="729431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2E3EDA-D0F0-427D-8534-13B02E41D096}">
      <dsp:nvSpPr>
        <dsp:cNvPr id="0" name=""/>
        <dsp:cNvSpPr/>
      </dsp:nvSpPr>
      <dsp:spPr>
        <a:xfrm>
          <a:off x="2310998" y="1428601"/>
          <a:ext cx="1417267" cy="795680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Видовой состав по ступеням, условиям высадки</a:t>
          </a:r>
          <a:endParaRPr lang="ru-RU" sz="1200" kern="1200" dirty="0"/>
        </a:p>
      </dsp:txBody>
      <dsp:txXfrm>
        <a:off x="2334303" y="1451906"/>
        <a:ext cx="1370657" cy="749070"/>
      </dsp:txXfrm>
    </dsp:sp>
    <dsp:sp modelId="{433102E6-DED7-4A8E-BC41-159FE0CA5A77}">
      <dsp:nvSpPr>
        <dsp:cNvPr id="0" name=""/>
        <dsp:cNvSpPr/>
      </dsp:nvSpPr>
      <dsp:spPr>
        <a:xfrm>
          <a:off x="2049155" y="1097010"/>
          <a:ext cx="341286" cy="18184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818441"/>
              </a:lnTo>
              <a:lnTo>
                <a:pt x="341286" y="1818441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6E08A5-1D5B-4205-820D-0A8EE348FC54}">
      <dsp:nvSpPr>
        <dsp:cNvPr id="0" name=""/>
        <dsp:cNvSpPr/>
      </dsp:nvSpPr>
      <dsp:spPr>
        <a:xfrm>
          <a:off x="2390441" y="2525522"/>
          <a:ext cx="1450876" cy="779860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Правила посадки, ухода и содержания</a:t>
          </a:r>
          <a:endParaRPr lang="ru-RU" sz="1200" kern="1200" dirty="0"/>
        </a:p>
      </dsp:txBody>
      <dsp:txXfrm>
        <a:off x="2413282" y="2548363"/>
        <a:ext cx="1405194" cy="734178"/>
      </dsp:txXfrm>
    </dsp:sp>
    <dsp:sp modelId="{1359681A-E412-4A78-8BAE-12D3897A7F33}">
      <dsp:nvSpPr>
        <dsp:cNvPr id="0" name=""/>
        <dsp:cNvSpPr/>
      </dsp:nvSpPr>
      <dsp:spPr>
        <a:xfrm>
          <a:off x="2049155" y="1097010"/>
          <a:ext cx="352644" cy="26838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83830"/>
              </a:lnTo>
              <a:lnTo>
                <a:pt x="352644" y="2683830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9573FAB-C0B2-4583-947F-2E1069F7F48E}">
      <dsp:nvSpPr>
        <dsp:cNvPr id="0" name=""/>
        <dsp:cNvSpPr/>
      </dsp:nvSpPr>
      <dsp:spPr>
        <a:xfrm>
          <a:off x="2401799" y="3470408"/>
          <a:ext cx="1465940" cy="620865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Питомники</a:t>
          </a:r>
          <a:endParaRPr lang="ru-RU" sz="1200" kern="1200" dirty="0"/>
        </a:p>
      </dsp:txBody>
      <dsp:txXfrm>
        <a:off x="2419984" y="3488593"/>
        <a:ext cx="1429570" cy="584495"/>
      </dsp:txXfrm>
    </dsp:sp>
    <dsp:sp modelId="{B59327FD-5821-4413-A7DE-1974379F56E0}">
      <dsp:nvSpPr>
        <dsp:cNvPr id="0" name=""/>
        <dsp:cNvSpPr/>
      </dsp:nvSpPr>
      <dsp:spPr>
        <a:xfrm>
          <a:off x="4233387" y="112371"/>
          <a:ext cx="1639002" cy="59417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Площадка взаимодействия</a:t>
          </a:r>
          <a:endParaRPr lang="ru-RU" sz="1200" kern="1200" dirty="0"/>
        </a:p>
      </dsp:txBody>
      <dsp:txXfrm>
        <a:off x="4250790" y="129774"/>
        <a:ext cx="1604196" cy="559368"/>
      </dsp:txXfrm>
    </dsp:sp>
    <dsp:sp modelId="{78C534AD-B01B-40AB-92F6-69DB7592B46A}">
      <dsp:nvSpPr>
        <dsp:cNvPr id="0" name=""/>
        <dsp:cNvSpPr/>
      </dsp:nvSpPr>
      <dsp:spPr>
        <a:xfrm>
          <a:off x="4397287" y="706546"/>
          <a:ext cx="518078" cy="7022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02283"/>
              </a:lnTo>
              <a:lnTo>
                <a:pt x="518078" y="702283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77451B-923F-4A26-B55E-FBA0CA38E36E}">
      <dsp:nvSpPr>
        <dsp:cNvPr id="0" name=""/>
        <dsp:cNvSpPr/>
      </dsp:nvSpPr>
      <dsp:spPr>
        <a:xfrm>
          <a:off x="4915366" y="1072191"/>
          <a:ext cx="1281962" cy="673276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Точка Кипения Красноярск</a:t>
          </a:r>
          <a:endParaRPr lang="ru-RU" sz="1200" kern="1200" dirty="0"/>
        </a:p>
      </dsp:txBody>
      <dsp:txXfrm>
        <a:off x="4935086" y="1091911"/>
        <a:ext cx="1242522" cy="633836"/>
      </dsp:txXfrm>
    </dsp:sp>
    <dsp:sp modelId="{6F79267B-7B1A-4BCF-97B2-32F0CD95522A}">
      <dsp:nvSpPr>
        <dsp:cNvPr id="0" name=""/>
        <dsp:cNvSpPr/>
      </dsp:nvSpPr>
      <dsp:spPr>
        <a:xfrm>
          <a:off x="4397287" y="706546"/>
          <a:ext cx="518078" cy="17580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8058"/>
              </a:lnTo>
              <a:lnTo>
                <a:pt x="518078" y="1758058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D440C79-E070-4F67-BA85-FC12198D0809}">
      <dsp:nvSpPr>
        <dsp:cNvPr id="0" name=""/>
        <dsp:cNvSpPr/>
      </dsp:nvSpPr>
      <dsp:spPr>
        <a:xfrm>
          <a:off x="4915366" y="2092103"/>
          <a:ext cx="1470488" cy="745002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Платформа «Активный Гражданин»</a:t>
          </a:r>
          <a:endParaRPr lang="ru-RU" sz="1200" kern="1200" dirty="0"/>
        </a:p>
      </dsp:txBody>
      <dsp:txXfrm>
        <a:off x="4937186" y="2113923"/>
        <a:ext cx="1426848" cy="701362"/>
      </dsp:txXfrm>
    </dsp:sp>
    <dsp:sp modelId="{121C190A-BC39-4287-9CB3-817FA7CC1EF3}">
      <dsp:nvSpPr>
        <dsp:cNvPr id="0" name=""/>
        <dsp:cNvSpPr/>
      </dsp:nvSpPr>
      <dsp:spPr>
        <a:xfrm>
          <a:off x="6546166" y="112371"/>
          <a:ext cx="1631709" cy="648901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Сеть питомников</a:t>
          </a:r>
          <a:endParaRPr lang="ru-RU" sz="1200" kern="1200" dirty="0"/>
        </a:p>
      </dsp:txBody>
      <dsp:txXfrm>
        <a:off x="6565172" y="131377"/>
        <a:ext cx="1593697" cy="610889"/>
      </dsp:txXfrm>
    </dsp:sp>
    <dsp:sp modelId="{DC2DAAB8-60F1-42C6-B570-219FC5DD2F74}">
      <dsp:nvSpPr>
        <dsp:cNvPr id="0" name=""/>
        <dsp:cNvSpPr/>
      </dsp:nvSpPr>
      <dsp:spPr>
        <a:xfrm>
          <a:off x="6709337" y="761273"/>
          <a:ext cx="536843" cy="6697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69775"/>
              </a:lnTo>
              <a:lnTo>
                <a:pt x="536843" y="669775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64871E-E575-44F3-8BD9-77963AD45C5C}">
      <dsp:nvSpPr>
        <dsp:cNvPr id="0" name=""/>
        <dsp:cNvSpPr/>
      </dsp:nvSpPr>
      <dsp:spPr>
        <a:xfrm>
          <a:off x="7246181" y="1126917"/>
          <a:ext cx="1565394" cy="608261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По видам зеленых насаждений</a:t>
          </a:r>
          <a:endParaRPr lang="ru-RU" sz="1200" kern="1200" dirty="0"/>
        </a:p>
      </dsp:txBody>
      <dsp:txXfrm>
        <a:off x="7263996" y="1144732"/>
        <a:ext cx="1529764" cy="572631"/>
      </dsp:txXfrm>
    </dsp:sp>
    <dsp:sp modelId="{C62E453E-560F-4C23-A8E6-CCE0003481FB}">
      <dsp:nvSpPr>
        <dsp:cNvPr id="0" name=""/>
        <dsp:cNvSpPr/>
      </dsp:nvSpPr>
      <dsp:spPr>
        <a:xfrm>
          <a:off x="6709337" y="761273"/>
          <a:ext cx="536843" cy="169604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96045"/>
              </a:lnTo>
              <a:lnTo>
                <a:pt x="536843" y="1696045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07918AA-A8D0-4813-8309-1EAEE1D73AD4}">
      <dsp:nvSpPr>
        <dsp:cNvPr id="0" name=""/>
        <dsp:cNvSpPr/>
      </dsp:nvSpPr>
      <dsp:spPr>
        <a:xfrm>
          <a:off x="7246181" y="2081814"/>
          <a:ext cx="1878020" cy="751006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Рекультивационные</a:t>
          </a:r>
          <a:endParaRPr lang="ru-RU" sz="1200" kern="1200" dirty="0"/>
        </a:p>
      </dsp:txBody>
      <dsp:txXfrm>
        <a:off x="7268177" y="2103810"/>
        <a:ext cx="1834028" cy="707014"/>
      </dsp:txXfrm>
    </dsp:sp>
    <dsp:sp modelId="{782232DD-D04D-4C3A-B1D6-A80B50CBC6FE}">
      <dsp:nvSpPr>
        <dsp:cNvPr id="0" name=""/>
        <dsp:cNvSpPr/>
      </dsp:nvSpPr>
      <dsp:spPr>
        <a:xfrm>
          <a:off x="9236605" y="133558"/>
          <a:ext cx="1887082" cy="113059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Городские территории со сниженным загрязнением атмосферы</a:t>
          </a:r>
          <a:endParaRPr lang="ru-RU" sz="1200" kern="1200" dirty="0"/>
        </a:p>
      </dsp:txBody>
      <dsp:txXfrm>
        <a:off x="9269719" y="166672"/>
        <a:ext cx="1820854" cy="1064371"/>
      </dsp:txXfrm>
    </dsp:sp>
    <dsp:sp modelId="{F60AB4F6-A7C4-42D9-9617-E20783DBA9A3}">
      <dsp:nvSpPr>
        <dsp:cNvPr id="0" name=""/>
        <dsp:cNvSpPr/>
      </dsp:nvSpPr>
      <dsp:spPr>
        <a:xfrm>
          <a:off x="9425313" y="1264157"/>
          <a:ext cx="425180" cy="40586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05861"/>
              </a:lnTo>
              <a:lnTo>
                <a:pt x="425180" y="405861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9DAF09-A180-4A9B-A9D2-28C1F5D496C3}">
      <dsp:nvSpPr>
        <dsp:cNvPr id="0" name=""/>
        <dsp:cNvSpPr/>
      </dsp:nvSpPr>
      <dsp:spPr>
        <a:xfrm>
          <a:off x="9850493" y="1362130"/>
          <a:ext cx="1742627" cy="615776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На границах санитарных зон промпредприятий</a:t>
          </a:r>
          <a:endParaRPr lang="ru-RU" sz="1200" kern="1200" dirty="0"/>
        </a:p>
      </dsp:txBody>
      <dsp:txXfrm>
        <a:off x="9868528" y="1380165"/>
        <a:ext cx="1706557" cy="579706"/>
      </dsp:txXfrm>
    </dsp:sp>
    <dsp:sp modelId="{E4EA0F45-32B7-4492-820B-99B8E56F4068}">
      <dsp:nvSpPr>
        <dsp:cNvPr id="0" name=""/>
        <dsp:cNvSpPr/>
      </dsp:nvSpPr>
      <dsp:spPr>
        <a:xfrm>
          <a:off x="9425313" y="1264157"/>
          <a:ext cx="469970" cy="12074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07455"/>
              </a:lnTo>
              <a:lnTo>
                <a:pt x="469970" y="1207455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ABF3A5E-89EF-4852-AC7D-5A15B5BDA424}">
      <dsp:nvSpPr>
        <dsp:cNvPr id="0" name=""/>
        <dsp:cNvSpPr/>
      </dsp:nvSpPr>
      <dsp:spPr>
        <a:xfrm>
          <a:off x="9895284" y="2123827"/>
          <a:ext cx="1725611" cy="695572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В жилой застройке для последующего развития</a:t>
          </a:r>
          <a:endParaRPr lang="ru-RU" sz="1200" kern="1200" dirty="0"/>
        </a:p>
      </dsp:txBody>
      <dsp:txXfrm>
        <a:off x="9915657" y="2144200"/>
        <a:ext cx="1684865" cy="654826"/>
      </dsp:txXfrm>
    </dsp:sp>
    <dsp:sp modelId="{E7B09330-FD59-42E1-A8C2-6AF788D25B45}">
      <dsp:nvSpPr>
        <dsp:cNvPr id="0" name=""/>
        <dsp:cNvSpPr/>
      </dsp:nvSpPr>
      <dsp:spPr>
        <a:xfrm>
          <a:off x="9425313" y="1264157"/>
          <a:ext cx="537800" cy="19658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65824"/>
              </a:lnTo>
              <a:lnTo>
                <a:pt x="537800" y="1965824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A15B5A-1D01-4ADA-B24F-AAE9985F1B0D}">
      <dsp:nvSpPr>
        <dsp:cNvPr id="0" name=""/>
        <dsp:cNvSpPr/>
      </dsp:nvSpPr>
      <dsp:spPr>
        <a:xfrm>
          <a:off x="9963113" y="2939543"/>
          <a:ext cx="1662829" cy="580877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Для создания общественных пространств</a:t>
          </a:r>
          <a:endParaRPr lang="ru-RU" sz="1200" kern="1200" dirty="0"/>
        </a:p>
      </dsp:txBody>
      <dsp:txXfrm>
        <a:off x="9980126" y="2956556"/>
        <a:ext cx="1628803" cy="546851"/>
      </dsp:txXfrm>
    </dsp:sp>
    <dsp:sp modelId="{7F43AC20-01C0-4C9B-B632-6679C5FD075A}">
      <dsp:nvSpPr>
        <dsp:cNvPr id="0" name=""/>
        <dsp:cNvSpPr/>
      </dsp:nvSpPr>
      <dsp:spPr>
        <a:xfrm>
          <a:off x="9425313" y="1264157"/>
          <a:ext cx="590566" cy="26346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34691"/>
              </a:lnTo>
              <a:lnTo>
                <a:pt x="590566" y="2634691"/>
              </a:lnTo>
            </a:path>
          </a:pathLst>
        </a:custGeom>
        <a:noFill/>
        <a:ln w="127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586BA5-20CE-46F6-88B6-D4716DDF2326}">
      <dsp:nvSpPr>
        <dsp:cNvPr id="0" name=""/>
        <dsp:cNvSpPr/>
      </dsp:nvSpPr>
      <dsp:spPr>
        <a:xfrm>
          <a:off x="10015880" y="3621874"/>
          <a:ext cx="1435902" cy="553950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Вдоль магистральных городских дорог</a:t>
          </a:r>
          <a:endParaRPr lang="ru-RU" sz="1200" kern="1200" dirty="0"/>
        </a:p>
      </dsp:txBody>
      <dsp:txXfrm>
        <a:off x="10032105" y="3638099"/>
        <a:ext cx="1403452" cy="5215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D410C3-DFE8-403F-8658-F790C795DE62}">
      <dsp:nvSpPr>
        <dsp:cNvPr id="0" name=""/>
        <dsp:cNvSpPr/>
      </dsp:nvSpPr>
      <dsp:spPr>
        <a:xfrm>
          <a:off x="5965" y="1340697"/>
          <a:ext cx="894104" cy="323061"/>
        </a:xfrm>
        <a:prstGeom prst="chevron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solidFill>
                <a:schemeClr val="tx1"/>
              </a:solidFill>
            </a:rPr>
            <a:t>10.2020</a:t>
          </a:r>
          <a:endParaRPr lang="ru-RU" sz="1000" kern="1200" dirty="0">
            <a:solidFill>
              <a:schemeClr val="tx1"/>
            </a:solidFill>
          </a:endParaRPr>
        </a:p>
      </dsp:txBody>
      <dsp:txXfrm>
        <a:off x="167496" y="1340697"/>
        <a:ext cx="571043" cy="323061"/>
      </dsp:txXfrm>
    </dsp:sp>
    <dsp:sp modelId="{42DA0ACA-0711-41CD-9575-C7C335211645}">
      <dsp:nvSpPr>
        <dsp:cNvPr id="0" name=""/>
        <dsp:cNvSpPr/>
      </dsp:nvSpPr>
      <dsp:spPr>
        <a:xfrm>
          <a:off x="819304" y="1340697"/>
          <a:ext cx="977389" cy="323061"/>
        </a:xfrm>
        <a:prstGeom prst="chevron">
          <a:avLst/>
        </a:prstGeom>
        <a:solidFill>
          <a:schemeClr val="accent5">
            <a:hueOff val="-291495"/>
            <a:satOff val="1025"/>
            <a:lumOff val="-84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>
              <a:solidFill>
                <a:schemeClr val="tx1"/>
              </a:solidFill>
            </a:rPr>
            <a:t>11.2020</a:t>
          </a:r>
          <a:endParaRPr lang="ru-RU" sz="1000" kern="1200" dirty="0">
            <a:solidFill>
              <a:schemeClr val="tx1"/>
            </a:solidFill>
          </a:endParaRPr>
        </a:p>
      </dsp:txBody>
      <dsp:txXfrm>
        <a:off x="980835" y="1340697"/>
        <a:ext cx="654328" cy="323061"/>
      </dsp:txXfrm>
    </dsp:sp>
    <dsp:sp modelId="{FB6070FF-47D4-4DCA-BC24-93EC5EBFBD0A}">
      <dsp:nvSpPr>
        <dsp:cNvPr id="0" name=""/>
        <dsp:cNvSpPr/>
      </dsp:nvSpPr>
      <dsp:spPr>
        <a:xfrm>
          <a:off x="1715928" y="1340697"/>
          <a:ext cx="807653" cy="323061"/>
        </a:xfrm>
        <a:prstGeom prst="chevron">
          <a:avLst/>
        </a:prstGeom>
        <a:solidFill>
          <a:schemeClr val="accent5">
            <a:hueOff val="-582989"/>
            <a:satOff val="2049"/>
            <a:lumOff val="-168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</a:rPr>
            <a:t>12.2020</a:t>
          </a:r>
          <a:endParaRPr lang="ru-RU" sz="900" kern="1200" dirty="0">
            <a:solidFill>
              <a:schemeClr val="tx1"/>
            </a:solidFill>
          </a:endParaRPr>
        </a:p>
      </dsp:txBody>
      <dsp:txXfrm>
        <a:off x="1877459" y="1340697"/>
        <a:ext cx="484592" cy="323061"/>
      </dsp:txXfrm>
    </dsp:sp>
    <dsp:sp modelId="{09799274-3A1B-4777-BB61-2A79CBF90307}">
      <dsp:nvSpPr>
        <dsp:cNvPr id="0" name=""/>
        <dsp:cNvSpPr/>
      </dsp:nvSpPr>
      <dsp:spPr>
        <a:xfrm>
          <a:off x="2442816" y="1340697"/>
          <a:ext cx="807653" cy="323061"/>
        </a:xfrm>
        <a:prstGeom prst="chevron">
          <a:avLst/>
        </a:prstGeom>
        <a:solidFill>
          <a:schemeClr val="accent5">
            <a:hueOff val="-874484"/>
            <a:satOff val="3074"/>
            <a:lumOff val="-252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</a:rPr>
            <a:t>01.2021</a:t>
          </a:r>
          <a:endParaRPr lang="ru-RU" sz="900" kern="1200" dirty="0">
            <a:solidFill>
              <a:schemeClr val="tx1"/>
            </a:solidFill>
          </a:endParaRPr>
        </a:p>
      </dsp:txBody>
      <dsp:txXfrm>
        <a:off x="2604347" y="1340697"/>
        <a:ext cx="484592" cy="323061"/>
      </dsp:txXfrm>
    </dsp:sp>
    <dsp:sp modelId="{C5EE5834-10AC-4A9C-B2E1-FCA360F4F05C}">
      <dsp:nvSpPr>
        <dsp:cNvPr id="0" name=""/>
        <dsp:cNvSpPr/>
      </dsp:nvSpPr>
      <dsp:spPr>
        <a:xfrm>
          <a:off x="3169704" y="1340697"/>
          <a:ext cx="807653" cy="323061"/>
        </a:xfrm>
        <a:prstGeom prst="chevron">
          <a:avLst/>
        </a:prstGeom>
        <a:solidFill>
          <a:schemeClr val="accent5">
            <a:hueOff val="-1165978"/>
            <a:satOff val="4098"/>
            <a:lumOff val="-336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</a:rPr>
            <a:t>02.2021</a:t>
          </a:r>
          <a:endParaRPr lang="ru-RU" sz="900" kern="1200" dirty="0">
            <a:solidFill>
              <a:schemeClr val="tx1"/>
            </a:solidFill>
          </a:endParaRPr>
        </a:p>
      </dsp:txBody>
      <dsp:txXfrm>
        <a:off x="3331235" y="1340697"/>
        <a:ext cx="484592" cy="323061"/>
      </dsp:txXfrm>
    </dsp:sp>
    <dsp:sp modelId="{A6F217FA-D19C-43E3-97CB-7A7E36625BA4}">
      <dsp:nvSpPr>
        <dsp:cNvPr id="0" name=""/>
        <dsp:cNvSpPr/>
      </dsp:nvSpPr>
      <dsp:spPr>
        <a:xfrm>
          <a:off x="3896591" y="1340697"/>
          <a:ext cx="807653" cy="323061"/>
        </a:xfrm>
        <a:prstGeom prst="chevron">
          <a:avLst/>
        </a:prstGeom>
        <a:solidFill>
          <a:schemeClr val="accent5">
            <a:hueOff val="-1457473"/>
            <a:satOff val="5123"/>
            <a:lumOff val="-420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</a:rPr>
            <a:t>03.2021</a:t>
          </a:r>
          <a:endParaRPr lang="ru-RU" sz="900" kern="1200" dirty="0">
            <a:solidFill>
              <a:schemeClr val="tx1"/>
            </a:solidFill>
          </a:endParaRPr>
        </a:p>
      </dsp:txBody>
      <dsp:txXfrm>
        <a:off x="4058122" y="1340697"/>
        <a:ext cx="484592" cy="323061"/>
      </dsp:txXfrm>
    </dsp:sp>
    <dsp:sp modelId="{C53A5E80-B21D-4297-A0FD-6CCFC1C1F5B6}">
      <dsp:nvSpPr>
        <dsp:cNvPr id="0" name=""/>
        <dsp:cNvSpPr/>
      </dsp:nvSpPr>
      <dsp:spPr>
        <a:xfrm>
          <a:off x="4623479" y="1340697"/>
          <a:ext cx="807653" cy="323061"/>
        </a:xfrm>
        <a:prstGeom prst="chevron">
          <a:avLst/>
        </a:prstGeom>
        <a:solidFill>
          <a:schemeClr val="accent5">
            <a:hueOff val="-1748968"/>
            <a:satOff val="6147"/>
            <a:lumOff val="-504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</a:rPr>
            <a:t>04.2021</a:t>
          </a:r>
          <a:endParaRPr lang="ru-RU" sz="900" kern="1200" dirty="0">
            <a:solidFill>
              <a:schemeClr val="tx1"/>
            </a:solidFill>
          </a:endParaRPr>
        </a:p>
      </dsp:txBody>
      <dsp:txXfrm>
        <a:off x="4785010" y="1340697"/>
        <a:ext cx="484592" cy="323061"/>
      </dsp:txXfrm>
    </dsp:sp>
    <dsp:sp modelId="{7D114638-BEA6-47FE-8512-8F7EDAF9D2F1}">
      <dsp:nvSpPr>
        <dsp:cNvPr id="0" name=""/>
        <dsp:cNvSpPr/>
      </dsp:nvSpPr>
      <dsp:spPr>
        <a:xfrm>
          <a:off x="5350367" y="1340697"/>
          <a:ext cx="807653" cy="323061"/>
        </a:xfrm>
        <a:prstGeom prst="chevron">
          <a:avLst/>
        </a:prstGeom>
        <a:solidFill>
          <a:schemeClr val="accent5">
            <a:hueOff val="-2040462"/>
            <a:satOff val="7172"/>
            <a:lumOff val="-588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</a:rPr>
            <a:t>05.2021</a:t>
          </a:r>
          <a:endParaRPr lang="ru-RU" sz="900" kern="1200" dirty="0">
            <a:solidFill>
              <a:schemeClr val="tx1"/>
            </a:solidFill>
          </a:endParaRPr>
        </a:p>
      </dsp:txBody>
      <dsp:txXfrm>
        <a:off x="5511898" y="1340697"/>
        <a:ext cx="484592" cy="323061"/>
      </dsp:txXfrm>
    </dsp:sp>
    <dsp:sp modelId="{0347E9C4-9047-4161-9C7F-977039714E41}">
      <dsp:nvSpPr>
        <dsp:cNvPr id="0" name=""/>
        <dsp:cNvSpPr/>
      </dsp:nvSpPr>
      <dsp:spPr>
        <a:xfrm>
          <a:off x="6077254" y="1340697"/>
          <a:ext cx="807653" cy="323061"/>
        </a:xfrm>
        <a:prstGeom prst="chevron">
          <a:avLst/>
        </a:prstGeom>
        <a:solidFill>
          <a:schemeClr val="accent5">
            <a:hueOff val="-2331957"/>
            <a:satOff val="8197"/>
            <a:lumOff val="-67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</a:rPr>
            <a:t>06.2021</a:t>
          </a:r>
          <a:endParaRPr lang="ru-RU" sz="900" kern="1200" dirty="0">
            <a:solidFill>
              <a:schemeClr val="tx1"/>
            </a:solidFill>
          </a:endParaRPr>
        </a:p>
      </dsp:txBody>
      <dsp:txXfrm>
        <a:off x="6238785" y="1340697"/>
        <a:ext cx="484592" cy="323061"/>
      </dsp:txXfrm>
    </dsp:sp>
    <dsp:sp modelId="{4D4352FE-709E-4549-9FB4-4B4BC01D4969}">
      <dsp:nvSpPr>
        <dsp:cNvPr id="0" name=""/>
        <dsp:cNvSpPr/>
      </dsp:nvSpPr>
      <dsp:spPr>
        <a:xfrm>
          <a:off x="6804142" y="1340697"/>
          <a:ext cx="807653" cy="323061"/>
        </a:xfrm>
        <a:prstGeom prst="chevron">
          <a:avLst/>
        </a:prstGeom>
        <a:solidFill>
          <a:schemeClr val="accent5">
            <a:hueOff val="-2623451"/>
            <a:satOff val="9221"/>
            <a:lumOff val="-756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</a:rPr>
            <a:t>07.2021</a:t>
          </a:r>
          <a:endParaRPr lang="ru-RU" sz="900" kern="1200" dirty="0">
            <a:solidFill>
              <a:schemeClr val="tx1"/>
            </a:solidFill>
          </a:endParaRPr>
        </a:p>
      </dsp:txBody>
      <dsp:txXfrm>
        <a:off x="6965673" y="1340697"/>
        <a:ext cx="484592" cy="323061"/>
      </dsp:txXfrm>
    </dsp:sp>
    <dsp:sp modelId="{5112891F-5568-477B-870A-5104839D1408}">
      <dsp:nvSpPr>
        <dsp:cNvPr id="0" name=""/>
        <dsp:cNvSpPr/>
      </dsp:nvSpPr>
      <dsp:spPr>
        <a:xfrm>
          <a:off x="7531030" y="1340697"/>
          <a:ext cx="807653" cy="323061"/>
        </a:xfrm>
        <a:prstGeom prst="chevron">
          <a:avLst/>
        </a:prstGeom>
        <a:solidFill>
          <a:schemeClr val="accent5">
            <a:hueOff val="-2914946"/>
            <a:satOff val="10246"/>
            <a:lumOff val="-840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</a:rPr>
            <a:t>08.2021</a:t>
          </a:r>
          <a:endParaRPr lang="ru-RU" sz="900" kern="1200" dirty="0">
            <a:solidFill>
              <a:schemeClr val="tx1"/>
            </a:solidFill>
          </a:endParaRPr>
        </a:p>
      </dsp:txBody>
      <dsp:txXfrm>
        <a:off x="7692561" y="1340697"/>
        <a:ext cx="484592" cy="323061"/>
      </dsp:txXfrm>
    </dsp:sp>
    <dsp:sp modelId="{164DE5D1-BBC0-4AE0-8E38-2A359BD8A8E9}">
      <dsp:nvSpPr>
        <dsp:cNvPr id="0" name=""/>
        <dsp:cNvSpPr/>
      </dsp:nvSpPr>
      <dsp:spPr>
        <a:xfrm>
          <a:off x="8257918" y="1340697"/>
          <a:ext cx="807653" cy="323061"/>
        </a:xfrm>
        <a:prstGeom prst="chevron">
          <a:avLst/>
        </a:prstGeom>
        <a:solidFill>
          <a:schemeClr val="accent5">
            <a:hueOff val="-3206440"/>
            <a:satOff val="11270"/>
            <a:lumOff val="-924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</a:rPr>
            <a:t>09.2021</a:t>
          </a:r>
          <a:endParaRPr lang="ru-RU" sz="900" kern="1200" dirty="0">
            <a:solidFill>
              <a:schemeClr val="tx1"/>
            </a:solidFill>
          </a:endParaRPr>
        </a:p>
      </dsp:txBody>
      <dsp:txXfrm>
        <a:off x="8419449" y="1340697"/>
        <a:ext cx="484592" cy="323061"/>
      </dsp:txXfrm>
    </dsp:sp>
    <dsp:sp modelId="{9D1842D8-62B6-4074-A211-CCF8A41D2BF5}">
      <dsp:nvSpPr>
        <dsp:cNvPr id="0" name=""/>
        <dsp:cNvSpPr/>
      </dsp:nvSpPr>
      <dsp:spPr>
        <a:xfrm>
          <a:off x="8984805" y="1340697"/>
          <a:ext cx="807653" cy="323061"/>
        </a:xfrm>
        <a:prstGeom prst="chevron">
          <a:avLst/>
        </a:prstGeom>
        <a:solidFill>
          <a:schemeClr val="accent5">
            <a:hueOff val="-3497935"/>
            <a:satOff val="12295"/>
            <a:lumOff val="-1008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</a:rPr>
            <a:t>10.2021</a:t>
          </a:r>
          <a:endParaRPr lang="ru-RU" sz="900" kern="1200" dirty="0">
            <a:solidFill>
              <a:schemeClr val="tx1"/>
            </a:solidFill>
          </a:endParaRPr>
        </a:p>
      </dsp:txBody>
      <dsp:txXfrm>
        <a:off x="9146336" y="1340697"/>
        <a:ext cx="484592" cy="323061"/>
      </dsp:txXfrm>
    </dsp:sp>
    <dsp:sp modelId="{28BC2337-8C47-45D1-849C-7673D7E568C9}">
      <dsp:nvSpPr>
        <dsp:cNvPr id="0" name=""/>
        <dsp:cNvSpPr/>
      </dsp:nvSpPr>
      <dsp:spPr>
        <a:xfrm>
          <a:off x="9711693" y="1340697"/>
          <a:ext cx="807653" cy="323061"/>
        </a:xfrm>
        <a:prstGeom prst="chevron">
          <a:avLst/>
        </a:prstGeom>
        <a:solidFill>
          <a:schemeClr val="accent5">
            <a:hueOff val="-3789429"/>
            <a:satOff val="13319"/>
            <a:lumOff val="-1092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</a:rPr>
            <a:t>11.2021</a:t>
          </a:r>
          <a:endParaRPr lang="ru-RU" sz="900" kern="1200" dirty="0">
            <a:solidFill>
              <a:schemeClr val="tx1"/>
            </a:solidFill>
          </a:endParaRPr>
        </a:p>
      </dsp:txBody>
      <dsp:txXfrm>
        <a:off x="9873224" y="1340697"/>
        <a:ext cx="484592" cy="323061"/>
      </dsp:txXfrm>
    </dsp:sp>
    <dsp:sp modelId="{71316140-4F51-4BE9-944D-2FA0D0B2F51A}">
      <dsp:nvSpPr>
        <dsp:cNvPr id="0" name=""/>
        <dsp:cNvSpPr/>
      </dsp:nvSpPr>
      <dsp:spPr>
        <a:xfrm>
          <a:off x="10438581" y="1340697"/>
          <a:ext cx="807653" cy="323061"/>
        </a:xfrm>
        <a:prstGeom prst="chevron">
          <a:avLst/>
        </a:prstGeom>
        <a:solidFill>
          <a:schemeClr val="accent5">
            <a:hueOff val="-4080924"/>
            <a:satOff val="14344"/>
            <a:lumOff val="-1176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5" tIns="12002" rIns="12002" bIns="12002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/>
              </a:solidFill>
            </a:rPr>
            <a:t>12.2021</a:t>
          </a:r>
          <a:endParaRPr lang="ru-RU" sz="900" kern="1200" dirty="0">
            <a:solidFill>
              <a:schemeClr val="tx1"/>
            </a:solidFill>
          </a:endParaRPr>
        </a:p>
      </dsp:txBody>
      <dsp:txXfrm>
        <a:off x="10600112" y="1340697"/>
        <a:ext cx="484592" cy="32306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CF823C3-E2AE-4621-8BB1-D874228930A1}">
      <dsp:nvSpPr>
        <dsp:cNvPr id="0" name=""/>
        <dsp:cNvSpPr/>
      </dsp:nvSpPr>
      <dsp:spPr>
        <a:xfrm>
          <a:off x="6257394" y="1130746"/>
          <a:ext cx="328717" cy="31885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188586"/>
              </a:lnTo>
              <a:lnTo>
                <a:pt x="328717" y="3188586"/>
              </a:lnTo>
            </a:path>
          </a:pathLst>
        </a:custGeom>
        <a:noFill/>
        <a:ln w="127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9E8545-5DAE-4049-9ADA-6BA96EB17989}">
      <dsp:nvSpPr>
        <dsp:cNvPr id="0" name=""/>
        <dsp:cNvSpPr/>
      </dsp:nvSpPr>
      <dsp:spPr>
        <a:xfrm>
          <a:off x="6257394" y="1130746"/>
          <a:ext cx="328629" cy="5749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74900"/>
              </a:lnTo>
              <a:lnTo>
                <a:pt x="328629" y="574900"/>
              </a:lnTo>
            </a:path>
          </a:pathLst>
        </a:custGeom>
        <a:noFill/>
        <a:ln w="127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90405CC-C094-4D7B-888F-75D3FA95A2E2}">
      <dsp:nvSpPr>
        <dsp:cNvPr id="0" name=""/>
        <dsp:cNvSpPr/>
      </dsp:nvSpPr>
      <dsp:spPr>
        <a:xfrm>
          <a:off x="6257394" y="1130746"/>
          <a:ext cx="339022" cy="256200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62008"/>
              </a:lnTo>
              <a:lnTo>
                <a:pt x="339022" y="2562008"/>
              </a:lnTo>
            </a:path>
          </a:pathLst>
        </a:custGeom>
        <a:noFill/>
        <a:ln w="127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AB3F1C-F9A0-41B7-B854-83CB1EC31A3A}">
      <dsp:nvSpPr>
        <dsp:cNvPr id="0" name=""/>
        <dsp:cNvSpPr/>
      </dsp:nvSpPr>
      <dsp:spPr>
        <a:xfrm>
          <a:off x="6134471" y="1130746"/>
          <a:ext cx="122922" cy="1358161"/>
        </a:xfrm>
        <a:custGeom>
          <a:avLst/>
          <a:gdLst/>
          <a:ahLst/>
          <a:cxnLst/>
          <a:rect l="0" t="0" r="0" b="0"/>
          <a:pathLst>
            <a:path>
              <a:moveTo>
                <a:pt x="122922" y="0"/>
              </a:moveTo>
              <a:lnTo>
                <a:pt x="122922" y="1358161"/>
              </a:lnTo>
              <a:lnTo>
                <a:pt x="0" y="1358161"/>
              </a:lnTo>
            </a:path>
          </a:pathLst>
        </a:custGeom>
        <a:noFill/>
        <a:ln w="127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A9DFE1-8853-4B34-96A6-8A02642C4EB6}">
      <dsp:nvSpPr>
        <dsp:cNvPr id="0" name=""/>
        <dsp:cNvSpPr/>
      </dsp:nvSpPr>
      <dsp:spPr>
        <a:xfrm>
          <a:off x="6257394" y="1130746"/>
          <a:ext cx="334112" cy="13603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0384"/>
              </a:lnTo>
              <a:lnTo>
                <a:pt x="334112" y="1360384"/>
              </a:lnTo>
            </a:path>
          </a:pathLst>
        </a:custGeom>
        <a:noFill/>
        <a:ln w="127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2DDEF9-2C8B-4D54-998B-15FAD3DD85C0}">
      <dsp:nvSpPr>
        <dsp:cNvPr id="0" name=""/>
        <dsp:cNvSpPr/>
      </dsp:nvSpPr>
      <dsp:spPr>
        <a:xfrm>
          <a:off x="6103550" y="1130746"/>
          <a:ext cx="153844" cy="735576"/>
        </a:xfrm>
        <a:custGeom>
          <a:avLst/>
          <a:gdLst/>
          <a:ahLst/>
          <a:cxnLst/>
          <a:rect l="0" t="0" r="0" b="0"/>
          <a:pathLst>
            <a:path>
              <a:moveTo>
                <a:pt x="153844" y="0"/>
              </a:moveTo>
              <a:lnTo>
                <a:pt x="153844" y="735576"/>
              </a:lnTo>
              <a:lnTo>
                <a:pt x="0" y="735576"/>
              </a:lnTo>
            </a:path>
          </a:pathLst>
        </a:custGeom>
        <a:noFill/>
        <a:ln w="127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1404F1-F1FF-4AC0-BE41-783CB2770D67}">
      <dsp:nvSpPr>
        <dsp:cNvPr id="0" name=""/>
        <dsp:cNvSpPr/>
      </dsp:nvSpPr>
      <dsp:spPr>
        <a:xfrm>
          <a:off x="6134437" y="1130746"/>
          <a:ext cx="122956" cy="1958810"/>
        </a:xfrm>
        <a:custGeom>
          <a:avLst/>
          <a:gdLst/>
          <a:ahLst/>
          <a:cxnLst/>
          <a:rect l="0" t="0" r="0" b="0"/>
          <a:pathLst>
            <a:path>
              <a:moveTo>
                <a:pt x="122956" y="0"/>
              </a:moveTo>
              <a:lnTo>
                <a:pt x="122956" y="1958810"/>
              </a:lnTo>
              <a:lnTo>
                <a:pt x="0" y="1958810"/>
              </a:lnTo>
            </a:path>
          </a:pathLst>
        </a:custGeom>
        <a:noFill/>
        <a:ln w="127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B306A02-B401-4768-BF18-4D2C75246F9B}">
      <dsp:nvSpPr>
        <dsp:cNvPr id="0" name=""/>
        <dsp:cNvSpPr/>
      </dsp:nvSpPr>
      <dsp:spPr>
        <a:xfrm>
          <a:off x="6257394" y="1130746"/>
          <a:ext cx="356984" cy="196303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63033"/>
              </a:lnTo>
              <a:lnTo>
                <a:pt x="356984" y="1963033"/>
              </a:lnTo>
            </a:path>
          </a:pathLst>
        </a:custGeom>
        <a:noFill/>
        <a:ln w="127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2996719-4865-4ED0-99DC-3AA4D20193A2}">
      <dsp:nvSpPr>
        <dsp:cNvPr id="0" name=""/>
        <dsp:cNvSpPr/>
      </dsp:nvSpPr>
      <dsp:spPr>
        <a:xfrm>
          <a:off x="5350110" y="414734"/>
          <a:ext cx="1682619" cy="14065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9937"/>
              </a:lnTo>
              <a:lnTo>
                <a:pt x="1682619" y="69937"/>
              </a:lnTo>
              <a:lnTo>
                <a:pt x="1682619" y="140657"/>
              </a:lnTo>
            </a:path>
          </a:pathLst>
        </a:custGeom>
        <a:noFill/>
        <a:ln w="127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95C0620-57B5-49D4-B5B1-464F2E5111CB}">
      <dsp:nvSpPr>
        <dsp:cNvPr id="0" name=""/>
        <dsp:cNvSpPr/>
      </dsp:nvSpPr>
      <dsp:spPr>
        <a:xfrm>
          <a:off x="2039927" y="1112460"/>
          <a:ext cx="276143" cy="515265"/>
        </a:xfrm>
        <a:custGeom>
          <a:avLst/>
          <a:gdLst/>
          <a:ahLst/>
          <a:cxnLst/>
          <a:rect l="0" t="0" r="0" b="0"/>
          <a:pathLst>
            <a:path>
              <a:moveTo>
                <a:pt x="276143" y="0"/>
              </a:moveTo>
              <a:lnTo>
                <a:pt x="276143" y="515265"/>
              </a:lnTo>
              <a:lnTo>
                <a:pt x="0" y="515265"/>
              </a:lnTo>
            </a:path>
          </a:pathLst>
        </a:custGeom>
        <a:noFill/>
        <a:ln w="127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F8CF4F-6D14-4AF1-A691-F2B4F6E1E9AA}">
      <dsp:nvSpPr>
        <dsp:cNvPr id="0" name=""/>
        <dsp:cNvSpPr/>
      </dsp:nvSpPr>
      <dsp:spPr>
        <a:xfrm>
          <a:off x="2316071" y="1112460"/>
          <a:ext cx="267666" cy="11863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6347"/>
              </a:lnTo>
              <a:lnTo>
                <a:pt x="267666" y="1186347"/>
              </a:lnTo>
            </a:path>
          </a:pathLst>
        </a:custGeom>
        <a:noFill/>
        <a:ln w="127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6128EF-1F9E-4F4D-8A81-8B799C02C646}">
      <dsp:nvSpPr>
        <dsp:cNvPr id="0" name=""/>
        <dsp:cNvSpPr/>
      </dsp:nvSpPr>
      <dsp:spPr>
        <a:xfrm>
          <a:off x="2207788" y="1112460"/>
          <a:ext cx="108283" cy="1353207"/>
        </a:xfrm>
        <a:custGeom>
          <a:avLst/>
          <a:gdLst/>
          <a:ahLst/>
          <a:cxnLst/>
          <a:rect l="0" t="0" r="0" b="0"/>
          <a:pathLst>
            <a:path>
              <a:moveTo>
                <a:pt x="108283" y="0"/>
              </a:moveTo>
              <a:lnTo>
                <a:pt x="108283" y="1353207"/>
              </a:lnTo>
              <a:lnTo>
                <a:pt x="0" y="1353207"/>
              </a:lnTo>
            </a:path>
          </a:pathLst>
        </a:custGeom>
        <a:noFill/>
        <a:ln w="127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0AC4F6-3E10-43D6-B599-A536C172E41C}">
      <dsp:nvSpPr>
        <dsp:cNvPr id="0" name=""/>
        <dsp:cNvSpPr/>
      </dsp:nvSpPr>
      <dsp:spPr>
        <a:xfrm>
          <a:off x="2316071" y="1112460"/>
          <a:ext cx="351385" cy="4210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1064"/>
              </a:lnTo>
              <a:lnTo>
                <a:pt x="351385" y="421064"/>
              </a:lnTo>
            </a:path>
          </a:pathLst>
        </a:custGeom>
        <a:noFill/>
        <a:ln w="12700" cap="flat" cmpd="sng" algn="ctr">
          <a:solidFill>
            <a:schemeClr val="accent2">
              <a:tint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DA66AC2-AF82-41AA-8BB0-A6E443846438}">
      <dsp:nvSpPr>
        <dsp:cNvPr id="0" name=""/>
        <dsp:cNvSpPr/>
      </dsp:nvSpPr>
      <dsp:spPr>
        <a:xfrm>
          <a:off x="2890171" y="414734"/>
          <a:ext cx="2459939" cy="138333"/>
        </a:xfrm>
        <a:custGeom>
          <a:avLst/>
          <a:gdLst/>
          <a:ahLst/>
          <a:cxnLst/>
          <a:rect l="0" t="0" r="0" b="0"/>
          <a:pathLst>
            <a:path>
              <a:moveTo>
                <a:pt x="2459939" y="0"/>
              </a:moveTo>
              <a:lnTo>
                <a:pt x="2459939" y="67614"/>
              </a:lnTo>
              <a:lnTo>
                <a:pt x="0" y="67614"/>
              </a:lnTo>
              <a:lnTo>
                <a:pt x="0" y="138333"/>
              </a:lnTo>
            </a:path>
          </a:pathLst>
        </a:custGeom>
        <a:noFill/>
        <a:ln w="127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286B5E-2D83-44FA-A7E4-BDAA13A1786D}">
      <dsp:nvSpPr>
        <dsp:cNvPr id="0" name=""/>
        <dsp:cNvSpPr/>
      </dsp:nvSpPr>
      <dsp:spPr>
        <a:xfrm>
          <a:off x="4215221" y="2535"/>
          <a:ext cx="2269778" cy="412198"/>
        </a:xfrm>
        <a:prstGeom prst="rect">
          <a:avLst/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shade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Проект</a:t>
          </a:r>
          <a:endParaRPr lang="ru-RU" sz="2000" kern="1200" dirty="0"/>
        </a:p>
      </dsp:txBody>
      <dsp:txXfrm>
        <a:off x="4215221" y="2535"/>
        <a:ext cx="2269778" cy="412198"/>
      </dsp:txXfrm>
    </dsp:sp>
    <dsp:sp modelId="{03A80AEC-63EA-404D-89ED-AC68FEF3FBD3}">
      <dsp:nvSpPr>
        <dsp:cNvPr id="0" name=""/>
        <dsp:cNvSpPr/>
      </dsp:nvSpPr>
      <dsp:spPr>
        <a:xfrm>
          <a:off x="2172546" y="553068"/>
          <a:ext cx="1435250" cy="559392"/>
        </a:xfrm>
        <a:prstGeom prst="rect">
          <a:avLst/>
        </a:prstGeom>
        <a:gradFill rotWithShape="0">
          <a:gsLst>
            <a:gs pos="0">
              <a:schemeClr val="accent2">
                <a:tint val="99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tint val="99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tint val="99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Внешние</a:t>
          </a:r>
          <a:endParaRPr lang="ru-RU" sz="1400" kern="1200" dirty="0"/>
        </a:p>
      </dsp:txBody>
      <dsp:txXfrm>
        <a:off x="2172546" y="553068"/>
        <a:ext cx="1435250" cy="559392"/>
      </dsp:txXfrm>
    </dsp:sp>
    <dsp:sp modelId="{853273EE-F5BA-4750-BE0E-3A41065B667F}">
      <dsp:nvSpPr>
        <dsp:cNvPr id="0" name=""/>
        <dsp:cNvSpPr/>
      </dsp:nvSpPr>
      <dsp:spPr>
        <a:xfrm>
          <a:off x="2667456" y="1309245"/>
          <a:ext cx="1048079" cy="448558"/>
        </a:xfrm>
        <a:prstGeom prst="rect">
          <a:avLst/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Погода</a:t>
          </a:r>
          <a:endParaRPr lang="ru-RU" sz="1400" kern="1200" dirty="0"/>
        </a:p>
      </dsp:txBody>
      <dsp:txXfrm>
        <a:off x="2667456" y="1309245"/>
        <a:ext cx="1048079" cy="448558"/>
      </dsp:txXfrm>
    </dsp:sp>
    <dsp:sp modelId="{CA64100C-FCAF-4C64-A57D-350718A5DFC1}">
      <dsp:nvSpPr>
        <dsp:cNvPr id="0" name=""/>
        <dsp:cNvSpPr/>
      </dsp:nvSpPr>
      <dsp:spPr>
        <a:xfrm>
          <a:off x="377297" y="2169871"/>
          <a:ext cx="1830490" cy="591593"/>
        </a:xfrm>
        <a:prstGeom prst="rect">
          <a:avLst/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Подрядчики и поставщики</a:t>
          </a:r>
          <a:endParaRPr lang="ru-RU" sz="1400" kern="1200" dirty="0"/>
        </a:p>
      </dsp:txBody>
      <dsp:txXfrm>
        <a:off x="377297" y="2169871"/>
        <a:ext cx="1830490" cy="591593"/>
      </dsp:txXfrm>
    </dsp:sp>
    <dsp:sp modelId="{39351BEF-EE2D-489A-825B-9F228110664E}">
      <dsp:nvSpPr>
        <dsp:cNvPr id="0" name=""/>
        <dsp:cNvSpPr/>
      </dsp:nvSpPr>
      <dsp:spPr>
        <a:xfrm>
          <a:off x="2583738" y="1965122"/>
          <a:ext cx="1919307" cy="667370"/>
        </a:xfrm>
        <a:prstGeom prst="rect">
          <a:avLst/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Регулирующие органы</a:t>
          </a:r>
          <a:endParaRPr lang="ru-RU" sz="1400" kern="1200" dirty="0"/>
        </a:p>
      </dsp:txBody>
      <dsp:txXfrm>
        <a:off x="2583738" y="1965122"/>
        <a:ext cx="1919307" cy="667370"/>
      </dsp:txXfrm>
    </dsp:sp>
    <dsp:sp modelId="{7A142F68-1203-47DD-A907-62D4368696B1}">
      <dsp:nvSpPr>
        <dsp:cNvPr id="0" name=""/>
        <dsp:cNvSpPr/>
      </dsp:nvSpPr>
      <dsp:spPr>
        <a:xfrm>
          <a:off x="639531" y="1340011"/>
          <a:ext cx="1400396" cy="575429"/>
        </a:xfrm>
        <a:prstGeom prst="rect">
          <a:avLst/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Заказчик</a:t>
          </a:r>
          <a:endParaRPr lang="ru-RU" sz="1400" kern="1200" dirty="0"/>
        </a:p>
      </dsp:txBody>
      <dsp:txXfrm>
        <a:off x="639531" y="1340011"/>
        <a:ext cx="1400396" cy="575429"/>
      </dsp:txXfrm>
    </dsp:sp>
    <dsp:sp modelId="{0A82C679-9E5A-470A-8EFD-62AC9446E439}">
      <dsp:nvSpPr>
        <dsp:cNvPr id="0" name=""/>
        <dsp:cNvSpPr/>
      </dsp:nvSpPr>
      <dsp:spPr>
        <a:xfrm>
          <a:off x="6063560" y="555391"/>
          <a:ext cx="1938340" cy="575355"/>
        </a:xfrm>
        <a:prstGeom prst="rect">
          <a:avLst/>
        </a:prstGeom>
        <a:gradFill rotWithShape="0">
          <a:gsLst>
            <a:gs pos="0">
              <a:schemeClr val="accent2">
                <a:tint val="99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tint val="99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tint val="99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Внутренние</a:t>
          </a:r>
          <a:endParaRPr lang="ru-RU" sz="1400" kern="1200" dirty="0"/>
        </a:p>
      </dsp:txBody>
      <dsp:txXfrm>
        <a:off x="6063560" y="555391"/>
        <a:ext cx="1938340" cy="575355"/>
      </dsp:txXfrm>
    </dsp:sp>
    <dsp:sp modelId="{E2BBB827-A8F3-4492-BEB9-474F8DBECC77}">
      <dsp:nvSpPr>
        <dsp:cNvPr id="0" name=""/>
        <dsp:cNvSpPr/>
      </dsp:nvSpPr>
      <dsp:spPr>
        <a:xfrm>
          <a:off x="6614379" y="2888881"/>
          <a:ext cx="1729691" cy="409797"/>
        </a:xfrm>
        <a:prstGeom prst="rect">
          <a:avLst/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Коммуникации</a:t>
          </a:r>
          <a:endParaRPr lang="ru-RU" sz="1400" kern="1200" dirty="0"/>
        </a:p>
      </dsp:txBody>
      <dsp:txXfrm>
        <a:off x="6614379" y="2888881"/>
        <a:ext cx="1729691" cy="409797"/>
      </dsp:txXfrm>
    </dsp:sp>
    <dsp:sp modelId="{C26110A6-2E7C-4529-940C-BF74785AE43C}">
      <dsp:nvSpPr>
        <dsp:cNvPr id="0" name=""/>
        <dsp:cNvSpPr/>
      </dsp:nvSpPr>
      <dsp:spPr>
        <a:xfrm>
          <a:off x="4921360" y="2883126"/>
          <a:ext cx="1213077" cy="412862"/>
        </a:xfrm>
        <a:prstGeom prst="rect">
          <a:avLst/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Контроль</a:t>
          </a:r>
          <a:endParaRPr lang="ru-RU" sz="1400" kern="1200" dirty="0"/>
        </a:p>
      </dsp:txBody>
      <dsp:txXfrm>
        <a:off x="4921360" y="2883126"/>
        <a:ext cx="1213077" cy="412862"/>
      </dsp:txXfrm>
    </dsp:sp>
    <dsp:sp modelId="{8B4215AC-5A34-4CEB-B75A-BD7E237422C5}">
      <dsp:nvSpPr>
        <dsp:cNvPr id="0" name=""/>
        <dsp:cNvSpPr/>
      </dsp:nvSpPr>
      <dsp:spPr>
        <a:xfrm>
          <a:off x="4952240" y="1661390"/>
          <a:ext cx="1151309" cy="409865"/>
        </a:xfrm>
        <a:prstGeom prst="rect">
          <a:avLst/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Оценки</a:t>
          </a:r>
          <a:endParaRPr lang="ru-RU" sz="1400" kern="1200" dirty="0"/>
        </a:p>
      </dsp:txBody>
      <dsp:txXfrm>
        <a:off x="4952240" y="1661390"/>
        <a:ext cx="1151309" cy="409865"/>
      </dsp:txXfrm>
    </dsp:sp>
    <dsp:sp modelId="{C09BD7AB-F1B5-472F-9C34-7E998F287E98}">
      <dsp:nvSpPr>
        <dsp:cNvPr id="0" name=""/>
        <dsp:cNvSpPr/>
      </dsp:nvSpPr>
      <dsp:spPr>
        <a:xfrm>
          <a:off x="6591506" y="2272822"/>
          <a:ext cx="1663828" cy="436617"/>
        </a:xfrm>
        <a:prstGeom prst="rect">
          <a:avLst/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baseline="0" dirty="0" smtClean="0"/>
            <a:t>Финансирование</a:t>
          </a:r>
          <a:endParaRPr lang="ru-RU" sz="1400" kern="1200" baseline="0" dirty="0"/>
        </a:p>
      </dsp:txBody>
      <dsp:txXfrm>
        <a:off x="6591506" y="2272822"/>
        <a:ext cx="1663828" cy="436617"/>
      </dsp:txXfrm>
    </dsp:sp>
    <dsp:sp modelId="{4D473041-9990-45DF-9E03-DB1256FE4D92}">
      <dsp:nvSpPr>
        <dsp:cNvPr id="0" name=""/>
        <dsp:cNvSpPr/>
      </dsp:nvSpPr>
      <dsp:spPr>
        <a:xfrm>
          <a:off x="4921319" y="2284241"/>
          <a:ext cx="1213151" cy="409333"/>
        </a:xfrm>
        <a:prstGeom prst="rect">
          <a:avLst/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Ресурсы</a:t>
          </a:r>
          <a:endParaRPr lang="ru-RU" sz="1400" kern="1200" dirty="0"/>
        </a:p>
      </dsp:txBody>
      <dsp:txXfrm>
        <a:off x="4921319" y="2284241"/>
        <a:ext cx="1213151" cy="409333"/>
      </dsp:txXfrm>
    </dsp:sp>
    <dsp:sp modelId="{6141218C-D47A-483B-AEBE-5A2D6874DE19}">
      <dsp:nvSpPr>
        <dsp:cNvPr id="0" name=""/>
        <dsp:cNvSpPr/>
      </dsp:nvSpPr>
      <dsp:spPr>
        <a:xfrm>
          <a:off x="6596416" y="3409253"/>
          <a:ext cx="1763623" cy="567003"/>
        </a:xfrm>
        <a:prstGeom prst="rect">
          <a:avLst/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Процедурное участие</a:t>
          </a:r>
          <a:endParaRPr lang="ru-RU" sz="1400" kern="1200" dirty="0"/>
        </a:p>
      </dsp:txBody>
      <dsp:txXfrm>
        <a:off x="6596416" y="3409253"/>
        <a:ext cx="1763623" cy="567003"/>
      </dsp:txXfrm>
    </dsp:sp>
    <dsp:sp modelId="{348A1882-0AB3-4DD9-BE67-32BEF6683820}">
      <dsp:nvSpPr>
        <dsp:cNvPr id="0" name=""/>
        <dsp:cNvSpPr/>
      </dsp:nvSpPr>
      <dsp:spPr>
        <a:xfrm>
          <a:off x="6586023" y="1413519"/>
          <a:ext cx="1358045" cy="584255"/>
        </a:xfrm>
        <a:prstGeom prst="rect">
          <a:avLst/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Требования к стандартам</a:t>
          </a:r>
          <a:endParaRPr lang="ru-RU" sz="1400" kern="1200" dirty="0"/>
        </a:p>
      </dsp:txBody>
      <dsp:txXfrm>
        <a:off x="6586023" y="1413519"/>
        <a:ext cx="1358045" cy="584255"/>
      </dsp:txXfrm>
    </dsp:sp>
    <dsp:sp modelId="{954625B2-9167-4EB8-81AA-73D276AB7423}">
      <dsp:nvSpPr>
        <dsp:cNvPr id="0" name=""/>
        <dsp:cNvSpPr/>
      </dsp:nvSpPr>
      <dsp:spPr>
        <a:xfrm>
          <a:off x="6586111" y="4133890"/>
          <a:ext cx="1802243" cy="370885"/>
        </a:xfrm>
        <a:prstGeom prst="rect">
          <a:avLst/>
        </a:prstGeom>
        <a:gradFill rotWithShape="0">
          <a:gsLst>
            <a:gs pos="0">
              <a:schemeClr val="accent2">
                <a:tint val="8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tint val="8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Система качества</a:t>
          </a:r>
          <a:endParaRPr lang="ru-RU" sz="1400" kern="1200" dirty="0"/>
        </a:p>
      </dsp:txBody>
      <dsp:txXfrm>
        <a:off x="6586111" y="4133890"/>
        <a:ext cx="1802243" cy="37088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FA94ED-56F1-4CE5-820A-5A19B5C884A3}" type="datetimeFigureOut">
              <a:rPr lang="en-US" smtClean="0"/>
              <a:t>9/25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79A211-F8D6-46F1-BB01-49A4B18C6D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036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05CC16E8-6588-410E-B6A2-DC9825447EC8}" type="datetimeFigureOut">
              <a:rPr lang="en-US" smtClean="0"/>
              <a:pPr/>
              <a:t>9/25/2020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6DC001FD-7E5C-4189-A490-B6A57896C7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Образ слайда 7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27890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001FD-7E5C-4189-A490-B6A57896C73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1571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001FD-7E5C-4189-A490-B6A57896C735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63980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tif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2.tif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tif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tif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tif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tif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tif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0695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054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F4BA88A6-C9F3-4FD3-B2BA-C7C93EFBCA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</p:spPr>
        <p:txBody>
          <a:bodyPr anchor="b"/>
          <a:lstStyle>
            <a:lvl1pPr algn="l">
              <a:defRPr sz="6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14400035"/>
      </p:ext>
    </p:extLst>
  </p:cSld>
  <p:clrMapOvr>
    <a:masterClrMapping/>
  </p:clrMapOvr>
  <p:transition spd="slow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6746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151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A8C71E58-08E5-4FA9-A1CB-BDECC87B58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63469" y="1847340"/>
            <a:ext cx="3722263" cy="2567841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543EC9BF-5CA5-3349-BE64-62E4F84E3DE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643703"/>
      </p:ext>
    </p:extLst>
  </p:cSld>
  <p:clrMapOvr>
    <a:masterClrMapping/>
  </p:clrMapOvr>
  <p:transition spd="slow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381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175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86D5A814-2D3A-46DA-8272-D412D18875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5352969" y="1847340"/>
            <a:ext cx="3722263" cy="2567841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4"/>
          </p:nvPr>
        </p:nvSpPr>
        <p:spPr>
          <a:xfrm flipH="1">
            <a:off x="9176400" y="3969493"/>
            <a:ext cx="2752491" cy="1923307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36EEC369-4020-D244-B640-94FDE63C972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809330"/>
      </p:ext>
    </p:extLst>
  </p:cSld>
  <p:clrMapOvr>
    <a:masterClrMapping/>
  </p:clrMapOvr>
  <p:transition spd="slow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622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198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D9428F93-06E2-4549-888B-86AF0F20B5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-1" y="0"/>
            <a:ext cx="12192000" cy="4914899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457453"/>
      </p:ext>
    </p:extLst>
  </p:cSld>
  <p:clrMapOvr>
    <a:masterClrMapping/>
  </p:clrMapOvr>
  <p:transition spd="slow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801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222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0AD08186-956E-45DD-9440-01D18F4234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ound Diagonal Corner Rectangle 5"/>
          <p:cNvSpPr/>
          <p:nvPr userDrawn="1"/>
        </p:nvSpPr>
        <p:spPr>
          <a:xfrm>
            <a:off x="4270441" y="1473201"/>
            <a:ext cx="3552761" cy="4610100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367895" y="1596571"/>
            <a:ext cx="3340100" cy="4363359"/>
          </a:xfrm>
          <a:prstGeom prst="round2DiagRect">
            <a:avLst>
              <a:gd name="adj1" fmla="val 0"/>
              <a:gd name="adj2" fmla="val 16372"/>
            </a:avLst>
          </a:prstGeom>
          <a:solidFill>
            <a:schemeClr val="bg1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022135"/>
      </p:ext>
    </p:extLst>
  </p:cSld>
  <p:clrMapOvr>
    <a:masterClrMapping/>
  </p:clrMapOvr>
  <p:transition spd="slow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956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246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7F446FA9-5A8B-4B48-8E5C-C452FC03F4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1193345" y="2349501"/>
            <a:ext cx="9805307" cy="2108200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898193"/>
      </p:ext>
    </p:extLst>
  </p:cSld>
  <p:clrMapOvr>
    <a:masterClrMapping/>
  </p:clrMapOvr>
  <p:transition spd="slow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3062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270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246E56B7-32CC-4EEC-B6E5-EDEDA87773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065526"/>
      </p:ext>
    </p:extLst>
  </p:cSld>
  <p:clrMapOvr>
    <a:masterClrMapping/>
  </p:clrMapOvr>
  <p:transition spd="slow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931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294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474F25D1-6498-47B8-AA71-15AA8FC18C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2192000" cy="4800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5285" y="1664060"/>
            <a:ext cx="5036835" cy="2896642"/>
          </a:xfrm>
          <a:prstGeom prst="rect">
            <a:avLst/>
          </a:prstGeom>
        </p:spPr>
      </p:pic>
      <p:sp>
        <p:nvSpPr>
          <p:cNvPr id="10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153991" y="1859067"/>
            <a:ext cx="3814711" cy="2387990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946718"/>
      </p:ext>
    </p:extLst>
  </p:cSld>
  <p:clrMapOvr>
    <a:masterClrMapping/>
  </p:clrMapOvr>
  <p:transition spd="slow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692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1318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C1C3C86D-33A1-460C-A8C8-3310B95B40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-1" y="1"/>
            <a:ext cx="12192000" cy="3615536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225982" y="2392683"/>
            <a:ext cx="2005084" cy="1707835"/>
          </a:xfrm>
          <a:prstGeom prst="hexagon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accent4"/>
            </a:solidFill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361694"/>
      </p:ext>
    </p:extLst>
  </p:cSld>
  <p:clrMapOvr>
    <a:masterClrMapping/>
  </p:clrMapOvr>
  <p:transition spd="slow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519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342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0794BF82-75F4-47AD-9721-06A638A9D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5"/>
          </p:nvPr>
        </p:nvSpPr>
        <p:spPr>
          <a:xfrm flipH="1">
            <a:off x="6977757" y="2052868"/>
            <a:ext cx="1938032" cy="1784976"/>
          </a:xfrm>
          <a:prstGeom prst="round2DiagRect">
            <a:avLst>
              <a:gd name="adj1" fmla="val 0"/>
              <a:gd name="adj2" fmla="val 24283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 flipH="1">
            <a:off x="1449180" y="2052867"/>
            <a:ext cx="3518473" cy="3688509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 baseline="0">
                <a:solidFill>
                  <a:schemeClr val="bg1">
                    <a:lumMod val="65000"/>
                  </a:schemeClr>
                </a:solidFill>
                <a:effectLst/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indent="0" algn="ctr" defTabSz="292086">
              <a:buNone/>
            </a:pPr>
            <a:r>
              <a:rPr lang="en-US" dirty="0"/>
              <a:t>Agile </a:t>
            </a:r>
            <a:r>
              <a:rPr lang="ru-RU" dirty="0"/>
              <a:t>организация может быстро адаптироваться к внешней среде</a:t>
            </a:r>
          </a:p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407459"/>
      </p:ext>
    </p:extLst>
  </p:cSld>
  <p:clrMapOvr>
    <a:masterClrMapping/>
  </p:clrMapOvr>
  <p:transition spd="slow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04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366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2F004929-056F-4162-8157-37FCFA4B3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-1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 userDrawn="1">
            <p:ph type="pic" sz="quarter" idx="14"/>
          </p:nvPr>
        </p:nvSpPr>
        <p:spPr>
          <a:xfrm flipH="1">
            <a:off x="4063999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5" name="Picture Placeholder 7"/>
          <p:cNvSpPr>
            <a:spLocks noGrp="1"/>
          </p:cNvSpPr>
          <p:nvPr userDrawn="1">
            <p:ph type="pic" sz="quarter" idx="15"/>
          </p:nvPr>
        </p:nvSpPr>
        <p:spPr>
          <a:xfrm flipH="1">
            <a:off x="8127999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3989855"/>
      </p:ext>
    </p:extLst>
  </p:cSld>
  <p:clrMapOvr>
    <a:masterClrMapping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344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64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62A0DD45-B9F1-4B0F-953D-6E163A66F5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2259874" y="2543372"/>
            <a:ext cx="7672253" cy="1329595"/>
          </a:xfrm>
          <a:noFill/>
        </p:spPr>
        <p:txBody>
          <a:bodyPr wrap="square" anchor="t" anchorCtr="0">
            <a:spAutoFit/>
          </a:bodyPr>
          <a:lstStyle>
            <a:lvl1pPr algn="ctr">
              <a:defRPr lang="en-US" sz="4800" spc="-15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defTabSz="914400"/>
            <a:r>
              <a:rPr lang="en-US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817445" y="4167947"/>
            <a:ext cx="2557110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 algn="ctr">
              <a:buNone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defTabSz="914400"/>
            <a:r>
              <a:rPr lang="en-US" dirty="0"/>
              <a:t>Click to edit Master subtitle style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>
            <a:off x="5867400" y="225149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E6AAB47C-EB3E-DD4A-97BA-AE80BDF486F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6121856"/>
            <a:ext cx="736144" cy="73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663127"/>
      </p:ext>
    </p:extLst>
  </p:cSld>
  <p:clrMapOvr>
    <a:masterClrMapping/>
  </p:clrMapOvr>
  <p:transition spd="slow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3979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390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19A4AF99-97E0-4866-A437-AC206BFA95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/>
          </p:nvPr>
        </p:nvSpPr>
        <p:spPr>
          <a:xfrm flipH="1">
            <a:off x="6589072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/>
          </p:nvPr>
        </p:nvSpPr>
        <p:spPr>
          <a:xfrm flipH="1">
            <a:off x="9351081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1069460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4"/>
          </p:nvPr>
        </p:nvSpPr>
        <p:spPr>
          <a:xfrm flipH="1">
            <a:off x="3829266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4479639"/>
      </p:ext>
    </p:extLst>
  </p:cSld>
  <p:clrMapOvr>
    <a:masterClrMapping/>
  </p:clrMapOvr>
  <p:transition spd="slow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360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414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89B4B143-79F7-4AEB-9947-FCC5ECB148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Round Diagonal Corner Rectangle 13"/>
          <p:cNvSpPr/>
          <p:nvPr userDrawn="1"/>
        </p:nvSpPr>
        <p:spPr>
          <a:xfrm>
            <a:off x="8236584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Round Diagonal Corner Rectangle 7"/>
          <p:cNvSpPr/>
          <p:nvPr userDrawn="1"/>
        </p:nvSpPr>
        <p:spPr>
          <a:xfrm>
            <a:off x="757803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ound Diagonal Corner Rectangle 9"/>
          <p:cNvSpPr/>
          <p:nvPr userDrawn="1"/>
        </p:nvSpPr>
        <p:spPr>
          <a:xfrm>
            <a:off x="4497194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Round Diagonal Corner Rectangle 17"/>
          <p:cNvSpPr/>
          <p:nvPr userDrawn="1"/>
        </p:nvSpPr>
        <p:spPr>
          <a:xfrm>
            <a:off x="757803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Round Diagonal Corner Rectangle 19"/>
          <p:cNvSpPr/>
          <p:nvPr userDrawn="1"/>
        </p:nvSpPr>
        <p:spPr>
          <a:xfrm>
            <a:off x="4497194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Round Diagonal Corner Rectangle 21"/>
          <p:cNvSpPr/>
          <p:nvPr userDrawn="1"/>
        </p:nvSpPr>
        <p:spPr>
          <a:xfrm>
            <a:off x="8236584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66518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4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440457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5" name="Picture Placeholder 7"/>
          <p:cNvSpPr>
            <a:spLocks noGrp="1"/>
          </p:cNvSpPr>
          <p:nvPr userDrawn="1">
            <p:ph type="pic" sz="quarter" idx="18"/>
          </p:nvPr>
        </p:nvSpPr>
        <p:spPr>
          <a:xfrm flipH="1">
            <a:off x="814396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1" name="Picture Placeholder 7"/>
          <p:cNvSpPr>
            <a:spLocks noGrp="1"/>
          </p:cNvSpPr>
          <p:nvPr userDrawn="1">
            <p:ph type="pic" sz="quarter" idx="19"/>
          </p:nvPr>
        </p:nvSpPr>
        <p:spPr>
          <a:xfrm flipH="1">
            <a:off x="66518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2" name="Picture Placeholder 7"/>
          <p:cNvSpPr>
            <a:spLocks noGrp="1"/>
          </p:cNvSpPr>
          <p:nvPr userDrawn="1">
            <p:ph type="pic" sz="quarter" idx="20"/>
          </p:nvPr>
        </p:nvSpPr>
        <p:spPr>
          <a:xfrm flipH="1">
            <a:off x="440457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3" name="Picture Placeholder 7"/>
          <p:cNvSpPr>
            <a:spLocks noGrp="1"/>
          </p:cNvSpPr>
          <p:nvPr userDrawn="1">
            <p:ph type="pic" sz="quarter" idx="21"/>
          </p:nvPr>
        </p:nvSpPr>
        <p:spPr>
          <a:xfrm flipH="1">
            <a:off x="814396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641644"/>
      </p:ext>
    </p:extLst>
  </p:cSld>
  <p:clrMapOvr>
    <a:masterClrMapping/>
  </p:clrMapOvr>
  <p:transition spd="slow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992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438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3AB36091-6ED3-426E-BF7F-B505404938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Round Diagonal Corner Rectangle 15"/>
          <p:cNvSpPr/>
          <p:nvPr userDrawn="1"/>
        </p:nvSpPr>
        <p:spPr>
          <a:xfrm>
            <a:off x="1742621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Round Diagonal Corner Rectangle 16"/>
          <p:cNvSpPr/>
          <p:nvPr userDrawn="1"/>
        </p:nvSpPr>
        <p:spPr>
          <a:xfrm>
            <a:off x="4279295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Round Diagonal Corner Rectangle 18"/>
          <p:cNvSpPr/>
          <p:nvPr userDrawn="1"/>
        </p:nvSpPr>
        <p:spPr>
          <a:xfrm>
            <a:off x="6815969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Round Diagonal Corner Rectangle 20"/>
          <p:cNvSpPr/>
          <p:nvPr userDrawn="1"/>
        </p:nvSpPr>
        <p:spPr>
          <a:xfrm>
            <a:off x="9352643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3" name="Round Diagonal Corner Rectangle 22"/>
          <p:cNvSpPr/>
          <p:nvPr userDrawn="1"/>
        </p:nvSpPr>
        <p:spPr>
          <a:xfrm>
            <a:off x="1742621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6" name="Round Diagonal Corner Rectangle 25"/>
          <p:cNvSpPr/>
          <p:nvPr userDrawn="1"/>
        </p:nvSpPr>
        <p:spPr>
          <a:xfrm>
            <a:off x="4279295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7" name="Round Diagonal Corner Rectangle 26"/>
          <p:cNvSpPr/>
          <p:nvPr userDrawn="1"/>
        </p:nvSpPr>
        <p:spPr>
          <a:xfrm>
            <a:off x="6815969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8" name="Round Diagonal Corner Rectangle 27"/>
          <p:cNvSpPr/>
          <p:nvPr userDrawn="1"/>
        </p:nvSpPr>
        <p:spPr>
          <a:xfrm>
            <a:off x="9352643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1666420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7" name="Picture Placeholder 7"/>
          <p:cNvSpPr>
            <a:spLocks noGrp="1"/>
          </p:cNvSpPr>
          <p:nvPr userDrawn="1">
            <p:ph type="pic" sz="quarter" idx="14"/>
          </p:nvPr>
        </p:nvSpPr>
        <p:spPr>
          <a:xfrm flipH="1">
            <a:off x="4203097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8" name="Picture Placeholder 7"/>
          <p:cNvSpPr>
            <a:spLocks noGrp="1"/>
          </p:cNvSpPr>
          <p:nvPr userDrawn="1">
            <p:ph type="pic" sz="quarter" idx="15"/>
          </p:nvPr>
        </p:nvSpPr>
        <p:spPr>
          <a:xfrm flipH="1">
            <a:off x="6739769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9" name="Picture Placeholder 7"/>
          <p:cNvSpPr>
            <a:spLocks noGrp="1"/>
          </p:cNvSpPr>
          <p:nvPr userDrawn="1">
            <p:ph type="pic" sz="quarter" idx="16"/>
          </p:nvPr>
        </p:nvSpPr>
        <p:spPr>
          <a:xfrm flipH="1">
            <a:off x="9276441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0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1666420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4" name="Picture Placeholder 7"/>
          <p:cNvSpPr>
            <a:spLocks noGrp="1"/>
          </p:cNvSpPr>
          <p:nvPr userDrawn="1">
            <p:ph type="pic" sz="quarter" idx="18"/>
          </p:nvPr>
        </p:nvSpPr>
        <p:spPr>
          <a:xfrm flipH="1">
            <a:off x="4203097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5" name="Picture Placeholder 7"/>
          <p:cNvSpPr>
            <a:spLocks noGrp="1"/>
          </p:cNvSpPr>
          <p:nvPr userDrawn="1">
            <p:ph type="pic" sz="quarter" idx="19"/>
          </p:nvPr>
        </p:nvSpPr>
        <p:spPr>
          <a:xfrm flipH="1">
            <a:off x="6739769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6" name="Picture Placeholder 7"/>
          <p:cNvSpPr>
            <a:spLocks noGrp="1"/>
          </p:cNvSpPr>
          <p:nvPr userDrawn="1">
            <p:ph type="pic" sz="quarter" idx="20"/>
          </p:nvPr>
        </p:nvSpPr>
        <p:spPr>
          <a:xfrm flipH="1">
            <a:off x="9276441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782967"/>
      </p:ext>
    </p:extLst>
  </p:cSld>
  <p:clrMapOvr>
    <a:masterClrMapping/>
  </p:clrMapOvr>
  <p:transition spd="slow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307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462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1BCF2195-262F-4353-9190-B94FEDDD89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1" name="Round Diagonal Corner Rectangle 30"/>
          <p:cNvSpPr/>
          <p:nvPr userDrawn="1"/>
        </p:nvSpPr>
        <p:spPr>
          <a:xfrm>
            <a:off x="5383160" y="1747564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3" name="Round Diagonal Corner Rectangle 32"/>
          <p:cNvSpPr/>
          <p:nvPr userDrawn="1"/>
        </p:nvSpPr>
        <p:spPr>
          <a:xfrm>
            <a:off x="2390563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5" name="Round Diagonal Corner Rectangle 34"/>
          <p:cNvSpPr/>
          <p:nvPr userDrawn="1"/>
        </p:nvSpPr>
        <p:spPr>
          <a:xfrm>
            <a:off x="5452020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1" name="Round Diagonal Corner Rectangle 40"/>
          <p:cNvSpPr/>
          <p:nvPr userDrawn="1"/>
        </p:nvSpPr>
        <p:spPr>
          <a:xfrm>
            <a:off x="8513479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0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5290539" y="1639507"/>
            <a:ext cx="1518301" cy="1250366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18"/>
          </p:nvPr>
        </p:nvSpPr>
        <p:spPr>
          <a:xfrm flipH="1">
            <a:off x="2306890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19"/>
          </p:nvPr>
        </p:nvSpPr>
        <p:spPr>
          <a:xfrm flipH="1">
            <a:off x="5363874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20"/>
          </p:nvPr>
        </p:nvSpPr>
        <p:spPr>
          <a:xfrm flipH="1">
            <a:off x="8429809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3017521" y="2941844"/>
            <a:ext cx="6088380" cy="741181"/>
            <a:chOff x="3017520" y="3103744"/>
            <a:chExt cx="6088380" cy="741181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6096000" y="3103744"/>
              <a:ext cx="0" cy="52578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3017520" y="3629524"/>
              <a:ext cx="608838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3017520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6096000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9098788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59336652"/>
      </p:ext>
    </p:extLst>
  </p:cSld>
  <p:clrMapOvr>
    <a:masterClrMapping/>
  </p:clrMapOvr>
  <p:transition spd="slow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2657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486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480F1CE9-D5A8-4797-A9CC-81438A04841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1"/>
            <a:ext cx="12192000" cy="47371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077942"/>
      </p:ext>
    </p:extLst>
  </p:cSld>
  <p:clrMapOvr>
    <a:masterClrMapping/>
  </p:clrMapOvr>
  <p:transition spd="slow"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8051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774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B03CD6B0-3B6B-4878-92CD-91CD38E1E01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99BE6643-264B-4F03-8ECF-7428186910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1F69D265-599B-4B33-BB2D-3BA75973353F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Текст 8">
            <a:extLst>
              <a:ext uri="{FF2B5EF4-FFF2-40B4-BE49-F238E27FC236}">
                <a16:creationId xmlns:a16="http://schemas.microsoft.com/office/drawing/2014/main" xmlns="" id="{8F446697-41DA-4EDA-86F3-E553FA98B6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6EFDAC63-CBC3-41AB-AFD9-7BE51575864F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039814"/>
      </p:ext>
    </p:extLst>
  </p:cSld>
  <p:clrMapOvr>
    <a:masterClrMapping/>
  </p:clrMapOvr>
  <p:transition spd="slow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0640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798" name="Слайд think-cell" r:id="rId4" imgW="359" imgH="358" progId="TCLayout.ActiveDocument.1">
                  <p:embed/>
                </p:oleObj>
              </mc:Choice>
              <mc:Fallback>
                <p:oleObj name="Слайд think-cell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6062021B-746E-451E-9108-FBC20EF6B414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8">
            <a:extLst>
              <a:ext uri="{FF2B5EF4-FFF2-40B4-BE49-F238E27FC236}">
                <a16:creationId xmlns:a16="http://schemas.microsoft.com/office/drawing/2014/main" xmlns="" id="{AC98B66B-BF88-46F7-8C06-ABB4FEE06E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C8291D5C-065D-4EA4-AF33-3575E8147E6D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5">
            <a:extLst>
              <a:ext uri="{FF2B5EF4-FFF2-40B4-BE49-F238E27FC236}">
                <a16:creationId xmlns:a16="http://schemas.microsoft.com/office/drawing/2014/main" xmlns="" id="{98A1EFC5-0BC7-407C-9FAD-68BFC4CBB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89433428"/>
      </p:ext>
    </p:extLst>
  </p:cSld>
  <p:clrMapOvr>
    <a:masterClrMapping/>
  </p:clrMapOvr>
  <p:transition spd="slow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ОБРАЗЕЦ Be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5981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719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C506DC8B-DC41-41DC-BDEB-046072430D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8CFB4185-7B9D-49E3-B28A-F7A357FFF2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xmlns="" id="{E8429CFC-48A7-4C3E-B298-9825147493C5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Текст 8">
            <a:extLst>
              <a:ext uri="{FF2B5EF4-FFF2-40B4-BE49-F238E27FC236}">
                <a16:creationId xmlns:a16="http://schemas.microsoft.com/office/drawing/2014/main" xmlns="" id="{BBF3FBBA-74B9-42B8-9226-AE5DCBA964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B1B8559E-50F2-48F8-BA28-A8F1ACC473C7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2264036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027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Trebuchet MS"/>
              <a:sym typeface="Trebuchet M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649137"/>
            <a:ext cx="11252138" cy="4431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75" y="1562099"/>
            <a:ext cx="11252200" cy="4068763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89" indent="0">
              <a:buFont typeface="Arial" panose="020B0604020202020204" pitchFamily="34" charset="0"/>
              <a:buNone/>
              <a:defRPr/>
            </a:lvl2pPr>
            <a:lvl3pPr marL="914377" indent="0">
              <a:buFont typeface="Arial" panose="020B0604020202020204" pitchFamily="34" charset="0"/>
              <a:buNone/>
              <a:defRPr/>
            </a:lvl3pPr>
            <a:lvl4pPr marL="1371566" indent="0">
              <a:buFont typeface="Arial" panose="020B0604020202020204" pitchFamily="34" charset="0"/>
              <a:buNone/>
              <a:defRPr/>
            </a:lvl4pPr>
            <a:lvl5pPr marL="182875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5045461"/>
      </p:ext>
    </p:extLst>
  </p:cSld>
  <p:clrMapOvr>
    <a:masterClrMapping/>
  </p:clrMapOvr>
  <p:transition spd="slow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70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41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E1288502-C50A-44FF-8ADA-19B37ABA9D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D9B1CA37-1703-4531-8664-8A669B184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C7FAF5D7-0503-490D-AF2D-A6B082E7B79B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>
            <a:extLst>
              <a:ext uri="{FF2B5EF4-FFF2-40B4-BE49-F238E27FC236}">
                <a16:creationId xmlns:a16="http://schemas.microsoft.com/office/drawing/2014/main" xmlns="" id="{BD940762-4B0B-4214-B3EE-D5BDA4035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xmlns="" id="{FBFFCCEB-5B40-4B75-A648-B6AFDBA7AE9D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B465E397-C17C-B24B-9A8A-462B56545C2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6121856"/>
            <a:ext cx="736144" cy="73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312825"/>
      </p:ext>
    </p:extLst>
  </p:cSld>
  <p:clrMapOvr>
    <a:masterClrMapping/>
  </p:clrMapOvr>
  <p:transition spd="slow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105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14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xmlns="" id="{189A008C-DE94-473E-9206-C741D3B04BB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75" y="1562099"/>
            <a:ext cx="11252200" cy="4068763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189" indent="0">
              <a:buFont typeface="Arial" panose="020B0604020202020204" pitchFamily="34" charset="0"/>
              <a:buNone/>
              <a:defRPr/>
            </a:lvl2pPr>
            <a:lvl3pPr marL="914377" indent="0">
              <a:buFont typeface="Arial" panose="020B0604020202020204" pitchFamily="34" charset="0"/>
              <a:buNone/>
              <a:defRPr/>
            </a:lvl3pPr>
            <a:lvl4pPr marL="1371566" indent="0">
              <a:buFont typeface="Arial" panose="020B0604020202020204" pitchFamily="34" charset="0"/>
              <a:buNone/>
              <a:defRPr/>
            </a:lvl4pPr>
            <a:lvl5pPr marL="182875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5">
            <a:extLst>
              <a:ext uri="{FF2B5EF4-FFF2-40B4-BE49-F238E27FC236}">
                <a16:creationId xmlns:a16="http://schemas.microsoft.com/office/drawing/2014/main" xmlns="" id="{7ADFAACA-6A63-4FF6-B417-AB12268D3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80820529"/>
      </p:ext>
    </p:extLst>
  </p:cSld>
  <p:clrMapOvr>
    <a:masterClrMapping/>
  </p:clrMapOvr>
  <p:transition spd="slow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1215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25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xmlns="" id="{F1DED969-3121-4598-B9FB-6B8C3488D7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1284137"/>
            <a:ext cx="3265425" cy="1495794"/>
          </a:xfrm>
        </p:spPr>
        <p:txBody>
          <a:bodyPr anchor="t" anchorCtr="0"/>
          <a:lstStyle>
            <a:lvl1pPr>
              <a:defRPr sz="36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1AC02505-8843-8546-B178-86213E0397A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006823"/>
      </p:ext>
    </p:extLst>
  </p:cSld>
  <p:clrMapOvr>
    <a:masterClrMapping/>
  </p:clrMapOvr>
  <p:transition spd="slow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5840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xmlns="" id="{F1DED969-3121-4598-B9FB-6B8C3488D7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1284137"/>
            <a:ext cx="3265425" cy="1495794"/>
          </a:xfrm>
        </p:spPr>
        <p:txBody>
          <a:bodyPr anchor="t" anchorCtr="0"/>
          <a:lstStyle>
            <a:lvl1pPr>
              <a:defRPr sz="36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E6038186-9E31-2648-A022-E1B1BD29340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531734"/>
      </p:ext>
    </p:extLst>
  </p:cSld>
  <p:clrMapOvr>
    <a:masterClrMapping/>
  </p:clrMapOvr>
  <p:transition spd="slow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9628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079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ABD19D0F-291A-4D83-BFD3-E92F280DFB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5B26B09A-04D8-4FEC-A4A9-A804BBBAB8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xmlns="" id="{0ACB8394-549A-49B8-A1AB-3D7A7DD398C8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Текст 8">
            <a:extLst>
              <a:ext uri="{FF2B5EF4-FFF2-40B4-BE49-F238E27FC236}">
                <a16:creationId xmlns:a16="http://schemas.microsoft.com/office/drawing/2014/main" xmlns="" id="{E6EE89A4-7BCF-4BE8-B35D-DAD0780CB5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7782886E-3117-43B2-B66A-6FCE0AA25F49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33094E98-1A1C-E344-A996-907A490B309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161786"/>
      </p:ext>
    </p:extLst>
  </p:cSld>
  <p:clrMapOvr>
    <a:masterClrMapping/>
  </p:clrMapOvr>
  <p:transition spd="slow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3944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102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1440D88E-C2D3-40F2-86E8-2549CD61C60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12192000" cy="33718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60357" y="6439211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246283"/>
      </p:ext>
    </p:extLst>
  </p:cSld>
  <p:clrMapOvr>
    <a:masterClrMapping/>
  </p:clrMapOvr>
  <p:transition spd="slow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974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126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:a16="http://schemas.microsoft.com/office/drawing/2014/main" xmlns="" id="{D02E4E3F-74A9-452F-9CA7-4ACAF83DBC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0" y="1347408"/>
            <a:ext cx="12192000" cy="50098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878535"/>
      </p:ext>
    </p:extLst>
  </p:cSld>
  <p:clrMapOvr>
    <a:masterClrMapping/>
  </p:clrMapOvr>
  <p:transition spd="slow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4066021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00" name="Слайд think-cell" r:id="rId33" imgW="359" imgH="358" progId="TCLayout.ActiveDocument.1">
                  <p:embed/>
                </p:oleObj>
              </mc:Choice>
              <mc:Fallback>
                <p:oleObj name="Слайд think-cell" r:id="rId33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xmlns="" id="{4526BEB8-B332-4D0F-B3E2-D415BBE7C57E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8375" y="649137"/>
            <a:ext cx="10781377" cy="44319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1" name="номер слайда"/>
          <p:cNvSpPr txBox="1">
            <a:spLocks/>
          </p:cNvSpPr>
          <p:nvPr userDrawn="1"/>
        </p:nvSpPr>
        <p:spPr>
          <a:xfrm>
            <a:off x="11571402" y="6445306"/>
            <a:ext cx="160300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00" smtClean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lvl="0" algn="r"/>
              <a:t>‹#›</a:t>
            </a:fld>
            <a:endParaRPr lang="en-US" sz="1000" dirty="0">
              <a:solidFill>
                <a:schemeClr val="tx1"/>
              </a:solidFill>
              <a:latin typeface="Trebuchet MS" panose="020B0603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9239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0" r:id="rId3"/>
    <p:sldLayoutId id="2147483782" r:id="rId4"/>
    <p:sldLayoutId id="2147483781" r:id="rId5"/>
    <p:sldLayoutId id="2147483812" r:id="rId6"/>
    <p:sldLayoutId id="2147483654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7" r:id="rId13"/>
    <p:sldLayoutId id="2147483668" r:id="rId14"/>
    <p:sldLayoutId id="2147483669" r:id="rId15"/>
    <p:sldLayoutId id="2147483688" r:id="rId16"/>
    <p:sldLayoutId id="2147483670" r:id="rId17"/>
    <p:sldLayoutId id="2147483671" r:id="rId18"/>
    <p:sldLayoutId id="2147483672" r:id="rId19"/>
    <p:sldLayoutId id="2147483673" r:id="rId20"/>
    <p:sldLayoutId id="2147483674" r:id="rId21"/>
    <p:sldLayoutId id="2147483675" r:id="rId22"/>
    <p:sldLayoutId id="2147483676" r:id="rId23"/>
    <p:sldLayoutId id="2147483677" r:id="rId24"/>
    <p:sldLayoutId id="2147483693" r:id="rId25"/>
    <p:sldLayoutId id="2147483657" r:id="rId26"/>
    <p:sldLayoutId id="2147483795" r:id="rId27"/>
    <p:sldLayoutId id="2147483808" r:id="rId28"/>
  </p:sldLayoutIdLst>
  <p:transition spd="slow">
    <p:wipe dir="r"/>
  </p:transition>
  <p:hf sldNum="0" hdr="0" ft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en-US" sz="3200" b="1" kern="0" spc="-151" dirty="0">
          <a:solidFill>
            <a:schemeClr val="tx1"/>
          </a:solidFill>
          <a:latin typeface="Trebuchet MS" panose="020B0603020202020204" pitchFamily="34" charset="0"/>
          <a:ea typeface="Trebuchet MS" panose="020B0603020202020204" pitchFamily="34" charset="0"/>
          <a:cs typeface="Trebuchet MS" panose="020B0603020202020204" pitchFamily="34" charset="0"/>
          <a:sym typeface="Trebuchet MS" panose="020B0603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0.xml"/><Relationship Id="rId7" Type="http://schemas.openxmlformats.org/officeDocument/2006/relationships/image" Target="../media/image5.emf"/><Relationship Id="rId2" Type="http://schemas.openxmlformats.org/officeDocument/2006/relationships/tags" Target="../tags/tag59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xmlns="" id="{7EE31207-BFB4-4F78-BAF1-665843DADA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382" name="Слайд think-cell" r:id="rId6" imgW="425" imgH="424" progId="TCLayout.ActiveDocument.1">
                  <p:embed/>
                </p:oleObj>
              </mc:Choice>
              <mc:Fallback>
                <p:oleObj name="Слайд think-cell" r:id="rId6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xmlns="" id="{7EE31207-BFB4-4F78-BAF1-665843DADA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7CE42C53-920E-4CFD-9894-B08AE32CC4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600" b="1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872AD47-F7F9-4364-BC14-E58AE819B5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2802"/>
            <a:ext cx="10515600" cy="586541"/>
          </a:xfrm>
        </p:spPr>
        <p:txBody>
          <a:bodyPr anchor="t" anchorCtr="0"/>
          <a:lstStyle/>
          <a:p>
            <a:endParaRPr lang="ru-RU" sz="2800" dirty="0">
              <a:solidFill>
                <a:schemeClr val="tx1"/>
              </a:solidFill>
              <a:sym typeface="Trebuchet MS" panose="020B0603020202020204" pitchFamily="34" charset="0"/>
            </a:endParaRPr>
          </a:p>
        </p:txBody>
      </p:sp>
      <p:pic>
        <p:nvPicPr>
          <p:cNvPr id="16" name="Рисунок 15"/>
          <p:cNvPicPr>
            <a:picLocks noGrp="1" noChangeAspect="1"/>
          </p:cNvPicPr>
          <p:nvPr>
            <p:ph type="pic" sz="quarter" idx="14"/>
          </p:nvPr>
        </p:nvPicPr>
        <p:blipFill>
          <a:blip r:embed="rId8"/>
          <a:srcRect t="13440" b="13440"/>
          <a:stretch>
            <a:fillRect/>
          </a:stretch>
        </p:blipFill>
        <p:spPr>
          <a:xfrm>
            <a:off x="0" y="142803"/>
            <a:ext cx="12192000" cy="6617226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92171" y="251406"/>
            <a:ext cx="1180765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/>
              <a:t>Создание многоступенчатых защитных зон зеленых насаждений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7517322" y="887576"/>
            <a:ext cx="46746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Автор: Вячеслав Михайлов г. Красноярск </a:t>
            </a:r>
          </a:p>
        </p:txBody>
      </p:sp>
    </p:spTree>
    <p:extLst>
      <p:ext uri="{BB962C8B-B14F-4D97-AF65-F5344CB8AC3E}">
        <p14:creationId xmlns:p14="http://schemas.microsoft.com/office/powerpoint/2010/main" val="308925185"/>
      </p:ext>
    </p:extLst>
  </p:cSld>
  <p:clrMapOvr>
    <a:masterClrMapping/>
  </p:clrMapOvr>
  <p:transition spd="slow"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79557"/>
            <a:ext cx="11252138" cy="184666"/>
          </a:xfrm>
        </p:spPr>
        <p:txBody>
          <a:bodyPr/>
          <a:lstStyle/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200" b="0" spc="0" dirty="0"/>
              <a:t>Чем ваш замысел отличается от аналогов и существующих решений?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348889"/>
            <a:ext cx="11252200" cy="4925787"/>
          </a:xfrm>
        </p:spPr>
        <p:txBody>
          <a:bodyPr/>
          <a:lstStyle/>
          <a:p>
            <a:r>
              <a:rPr lang="ru-RU" sz="1800" dirty="0" smtClean="0"/>
              <a:t>Создание многоступенчатых защитных зон зеленых насаждений отличается от существующих подходов к озеленению:</a:t>
            </a:r>
          </a:p>
          <a:p>
            <a:pPr marL="342900" indent="-342900">
              <a:buAutoNum type="arabicPeriod"/>
            </a:pPr>
            <a:r>
              <a:rPr lang="ru-RU" sz="1800" dirty="0" smtClean="0"/>
              <a:t>Реализация комплексным ступенчатым принципом создания защитной зоны.</a:t>
            </a:r>
          </a:p>
          <a:p>
            <a:pPr marL="342900" indent="-342900">
              <a:buAutoNum type="arabicPeriod"/>
            </a:pPr>
            <a:r>
              <a:rPr lang="ru-RU" sz="1800" dirty="0"/>
              <a:t>Создание свода </a:t>
            </a:r>
            <a:r>
              <a:rPr lang="ru-RU" sz="1800" dirty="0" smtClean="0"/>
              <a:t>стандартов для каждой ступени.</a:t>
            </a:r>
            <a:endParaRPr lang="ru-RU" sz="1800" dirty="0"/>
          </a:p>
          <a:p>
            <a:pPr marL="0" indent="0">
              <a:buNone/>
            </a:pPr>
            <a:r>
              <a:rPr lang="ru-RU" sz="1800" dirty="0" smtClean="0"/>
              <a:t>3. Модульное использование свода стандартов для каждой ступени как для создания непосредственно защитной зоны, так и для каждой ступени в отдельности и совокупности.</a:t>
            </a:r>
            <a:endParaRPr lang="ru-RU" sz="1800" dirty="0"/>
          </a:p>
          <a:p>
            <a:pPr marL="0" indent="0">
              <a:buNone/>
            </a:pPr>
            <a:r>
              <a:rPr lang="ru-RU" sz="1800" dirty="0" smtClean="0"/>
              <a:t>4. Создание городских территорий со статусом «Сниженное загрязнение </a:t>
            </a:r>
            <a:r>
              <a:rPr lang="ru-RU" sz="1800" dirty="0" smtClean="0"/>
              <a:t>воздуха» </a:t>
            </a:r>
            <a:r>
              <a:rPr lang="ru-RU" sz="1800" dirty="0" smtClean="0"/>
              <a:t>для дальнейшего </a:t>
            </a:r>
            <a:r>
              <a:rPr lang="ru-RU" sz="1800" dirty="0" smtClean="0"/>
              <a:t>развития таких территорий.</a:t>
            </a:r>
            <a:endParaRPr lang="ru-RU" sz="1800" dirty="0" smtClean="0"/>
          </a:p>
          <a:p>
            <a:pPr marL="0" indent="0">
              <a:buNone/>
            </a:pPr>
            <a:r>
              <a:rPr lang="ru-RU" sz="1800" dirty="0" smtClean="0"/>
              <a:t>5. Развитие питомников и инструмента рекультивации территорий.</a:t>
            </a:r>
          </a:p>
          <a:p>
            <a:pPr marL="0" indent="0">
              <a:buNone/>
            </a:pPr>
            <a:r>
              <a:rPr lang="ru-RU" sz="1800" dirty="0" smtClean="0"/>
              <a:t>6. Снижение расходов на содержание зеленых насаждений за счет унификации и масштабирования решений по озеленению.</a:t>
            </a:r>
          </a:p>
          <a:p>
            <a:pPr marL="0" indent="0">
              <a:buNone/>
            </a:pPr>
            <a:endParaRPr lang="ru-RU" sz="1800" dirty="0" smtClean="0"/>
          </a:p>
          <a:p>
            <a:endParaRPr lang="ru-RU" sz="1800" dirty="0"/>
          </a:p>
          <a:p>
            <a:endParaRPr lang="ru-RU" sz="1800" dirty="0" smtClean="0"/>
          </a:p>
          <a:p>
            <a:endParaRPr lang="ru-RU" sz="1800" dirty="0"/>
          </a:p>
          <a:p>
            <a:endParaRPr lang="ru-RU" sz="1800" dirty="0" smtClean="0"/>
          </a:p>
          <a:p>
            <a:endParaRPr lang="ru-RU" sz="1800" dirty="0"/>
          </a:p>
          <a:p>
            <a:endParaRPr lang="ru-RU" sz="1800" dirty="0" smtClean="0"/>
          </a:p>
          <a:p>
            <a:endParaRPr lang="ru-RU" sz="1800" dirty="0"/>
          </a:p>
          <a:p>
            <a:endParaRPr lang="ru-RU" sz="1800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296293"/>
            <a:ext cx="11252138" cy="387798"/>
          </a:xfrm>
        </p:spPr>
        <p:txBody>
          <a:bodyPr/>
          <a:lstStyle/>
          <a:p>
            <a:r>
              <a:rPr lang="ru-RU" sz="2800" dirty="0"/>
              <a:t>Новизна решения</a:t>
            </a:r>
          </a:p>
        </p:txBody>
      </p:sp>
    </p:spTree>
    <p:extLst>
      <p:ext uri="{BB962C8B-B14F-4D97-AF65-F5344CB8AC3E}">
        <p14:creationId xmlns:p14="http://schemas.microsoft.com/office/powerpoint/2010/main" val="2140793883"/>
      </p:ext>
    </p:extLst>
  </p:cSld>
  <p:clrMapOvr>
    <a:masterClrMapping/>
  </p:clrMapOvr>
  <p:transition spd="slow">
    <p:wipe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31338"/>
            <a:ext cx="11252138" cy="332399"/>
          </a:xfrm>
        </p:spPr>
        <p:txBody>
          <a:bodyPr/>
          <a:lstStyle/>
          <a:p>
            <a:r>
              <a:rPr lang="ru-RU" sz="1200" b="0" spc="0" dirty="0"/>
              <a:t>Идея </a:t>
            </a:r>
            <a:r>
              <a:rPr lang="en-US" sz="1200" b="0" spc="0" dirty="0"/>
              <a:t>⟶ </a:t>
            </a:r>
            <a:r>
              <a:rPr lang="ru-RU" sz="1200" b="0" spc="0" dirty="0"/>
              <a:t>Наличие прототипа/макета/опытного образца</a:t>
            </a:r>
            <a:r>
              <a:rPr lang="en-US" sz="1200" b="0" spc="0" dirty="0"/>
              <a:t> ⟶ </a:t>
            </a:r>
            <a:r>
              <a:rPr lang="ru-RU" sz="1200" b="0" spc="0" dirty="0"/>
              <a:t>Наличие экспертизы</a:t>
            </a:r>
            <a:r>
              <a:rPr lang="en-US" sz="1200" b="0" spc="0" dirty="0"/>
              <a:t>/</a:t>
            </a:r>
            <a:r>
              <a:rPr lang="ru-RU" sz="1200" b="0" spc="0" dirty="0"/>
              <a:t>поддержки сообщества и спонсоров</a:t>
            </a:r>
            <a:r>
              <a:rPr lang="en-US" sz="1200" b="0" spc="0" dirty="0"/>
              <a:t>/</a:t>
            </a:r>
            <a:r>
              <a:rPr lang="ru-RU" sz="1200" b="0" spc="0" dirty="0"/>
              <a:t>договоренностей</a:t>
            </a:r>
            <a:r>
              <a:rPr lang="en-US" sz="1200" b="0" spc="0" dirty="0"/>
              <a:t>/</a:t>
            </a:r>
            <a:r>
              <a:rPr lang="ru-RU" sz="1200" b="0" spc="0" dirty="0"/>
              <a:t>ресурсной базы</a:t>
            </a:r>
            <a:r>
              <a:rPr lang="en-US" sz="1200" b="0" spc="0" dirty="0"/>
              <a:t> ⟶ </a:t>
            </a:r>
            <a:br>
              <a:rPr lang="en-US" sz="1200" b="0" spc="0" dirty="0"/>
            </a:br>
            <a:r>
              <a:rPr lang="ru-RU" sz="1200" b="0" spc="0" dirty="0"/>
              <a:t>Реализованный пилот или локальное внедрение</a:t>
            </a:r>
            <a:r>
              <a:rPr lang="en-US" sz="1200" b="0" spc="0" dirty="0"/>
              <a:t> ⟶ </a:t>
            </a:r>
            <a:r>
              <a:rPr lang="ru-RU" sz="1200" b="0" spc="0" dirty="0"/>
              <a:t>Готовность передачи в производство или тиражирование. 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800" dirty="0" smtClean="0"/>
              <a:t>В настоящий момент проект обладает:</a:t>
            </a:r>
          </a:p>
          <a:p>
            <a:pPr marL="0" indent="0">
              <a:buNone/>
            </a:pPr>
            <a:r>
              <a:rPr lang="ru-RU" sz="1800" dirty="0" smtClean="0"/>
              <a:t>Наличие экспертизы – Институт Леса Сибирского Федерального Университета, НКО</a:t>
            </a:r>
          </a:p>
          <a:p>
            <a:pPr marL="0" indent="0">
              <a:buNone/>
            </a:pPr>
            <a:r>
              <a:rPr lang="ru-RU" sz="1800" dirty="0" smtClean="0"/>
              <a:t>Прототип в части ступеней зон защитных зеленых насаждений с </a:t>
            </a:r>
            <a:r>
              <a:rPr lang="ru-RU" sz="1800" dirty="0" smtClean="0"/>
              <a:t>более 40-летним </a:t>
            </a:r>
            <a:r>
              <a:rPr lang="ru-RU" sz="1800" dirty="0" smtClean="0"/>
              <a:t>периодом жизненного цикла на текущий момент</a:t>
            </a:r>
          </a:p>
          <a:p>
            <a:pPr marL="0" indent="0">
              <a:buNone/>
            </a:pPr>
            <a:r>
              <a:rPr lang="ru-RU" sz="1800" dirty="0" smtClean="0"/>
              <a:t>Наличие обособленных волонтерских </a:t>
            </a:r>
            <a:r>
              <a:rPr lang="ru-RU" sz="1800" dirty="0"/>
              <a:t>организаций промышленных предприятий </a:t>
            </a:r>
            <a:r>
              <a:rPr lang="ru-RU" sz="1800" dirty="0" smtClean="0"/>
              <a:t>города, НКО</a:t>
            </a:r>
          </a:p>
          <a:p>
            <a:pPr marL="0" indent="0">
              <a:buNone/>
            </a:pPr>
            <a:r>
              <a:rPr lang="ru-RU" sz="1800" dirty="0" smtClean="0"/>
              <a:t>Наличие площадки Точка Кипения Красноярск</a:t>
            </a:r>
          </a:p>
          <a:p>
            <a:pPr marL="0" indent="0">
              <a:buNone/>
            </a:pPr>
            <a:endParaRPr lang="ru-RU" sz="1800" dirty="0"/>
          </a:p>
          <a:p>
            <a:endParaRPr lang="ru-RU" sz="1800" dirty="0" smtClean="0"/>
          </a:p>
          <a:p>
            <a:endParaRPr lang="ru-RU" sz="1800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02099"/>
            <a:ext cx="11252138" cy="646331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ru-RU" sz="2800" dirty="0"/>
              <a:t>Текущая стадия зрелости </a:t>
            </a:r>
          </a:p>
        </p:txBody>
      </p:sp>
    </p:spTree>
    <p:extLst>
      <p:ext uri="{BB962C8B-B14F-4D97-AF65-F5344CB8AC3E}">
        <p14:creationId xmlns:p14="http://schemas.microsoft.com/office/powerpoint/2010/main" val="946012864"/>
      </p:ext>
    </p:extLst>
  </p:cSld>
  <p:clrMapOvr>
    <a:masterClrMapping/>
  </p:clrMapOvr>
  <p:transition spd="slow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262" y="773974"/>
            <a:ext cx="11252138" cy="304699"/>
          </a:xfrm>
        </p:spPr>
        <p:txBody>
          <a:bodyPr/>
          <a:lstStyle/>
          <a:p>
            <a:r>
              <a:rPr lang="ru-RU" sz="1100" b="0" spc="0" dirty="0"/>
              <a:t>Заказчик или лицо, выполняющее функцию заказчика (=владелец продукта, приёмщик результата проекта), функциональный заказчик (=пользователь продукта проекта), держатель бюджета, куратор, руководитель проекта, администратор проекта (если предусматривается), причастные заинтересованные стороны (</a:t>
            </a:r>
            <a:r>
              <a:rPr lang="ru-RU" sz="1100" b="0" spc="0" dirty="0" err="1"/>
              <a:t>стейкхолдеры</a:t>
            </a:r>
            <a:r>
              <a:rPr lang="ru-RU" sz="1100" b="0" spc="0" dirty="0"/>
              <a:t>).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7087" y="61141"/>
            <a:ext cx="11974284" cy="567207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ru-RU" sz="2800" dirty="0"/>
              <a:t>Команда проекта: Матрица ролей и </a:t>
            </a:r>
            <a:r>
              <a:rPr lang="ru-RU" sz="2800" dirty="0" smtClean="0"/>
              <a:t>ключевых участников </a:t>
            </a:r>
            <a:endParaRPr lang="ru-RU" sz="2800" dirty="0"/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96682292"/>
              </p:ext>
            </p:extLst>
          </p:nvPr>
        </p:nvGraphicFramePr>
        <p:xfrm>
          <a:off x="347262" y="1529000"/>
          <a:ext cx="11616138" cy="4679746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091742"/>
                <a:gridCol w="907322"/>
                <a:gridCol w="814999"/>
                <a:gridCol w="1092998"/>
                <a:gridCol w="1060490"/>
                <a:gridCol w="896365"/>
                <a:gridCol w="1148864"/>
                <a:gridCol w="1085740"/>
                <a:gridCol w="517618"/>
              </a:tblGrid>
              <a:tr h="569025">
                <a:tc>
                  <a:txBody>
                    <a:bodyPr/>
                    <a:lstStyle/>
                    <a:p>
                      <a:pPr algn="ctr"/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Заказчик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Куратор АСИ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Руководитель проекта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Руководитель экспертной группы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Инвесторы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Волонтерские команды промышленных предприятий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Жители/</a:t>
                      </a:r>
                    </a:p>
                    <a:p>
                      <a:pPr algn="ctr"/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общественники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НКО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25157">
                <a:tc>
                  <a:txBody>
                    <a:bodyPr/>
                    <a:lstStyle/>
                    <a:p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Региональное утверждение проекта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A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R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</a:tr>
              <a:tr h="299518">
                <a:tc>
                  <a:txBody>
                    <a:bodyPr/>
                    <a:lstStyle/>
                    <a:p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Утверждение экспертного совета проекта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A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R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</a:tr>
              <a:tr h="342878">
                <a:tc>
                  <a:txBody>
                    <a:bodyPr/>
                    <a:lstStyle/>
                    <a:p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Утверждение процедурных форм. Методология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R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A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</a:tr>
              <a:tr h="299152">
                <a:tc>
                  <a:txBody>
                    <a:bodyPr/>
                    <a:lstStyle/>
                    <a:p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Утверждение финансирования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R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A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R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</a:tr>
              <a:tr h="347050">
                <a:tc>
                  <a:txBody>
                    <a:bodyPr/>
                    <a:lstStyle/>
                    <a:p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Утверждение территорий для пилотного проекта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R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A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</a:tr>
              <a:tr h="373175">
                <a:tc>
                  <a:txBody>
                    <a:bodyPr/>
                    <a:lstStyle/>
                    <a:p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Разработка. Утверждение стандартов зеленый насаждений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A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R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</a:tr>
              <a:tr h="339296">
                <a:tc>
                  <a:txBody>
                    <a:bodyPr/>
                    <a:lstStyle/>
                    <a:p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Утверждение источников зеленых насаждений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A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R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</a:tr>
              <a:tr h="365421">
                <a:tc>
                  <a:txBody>
                    <a:bodyPr/>
                    <a:lstStyle/>
                    <a:p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Закупка саженцев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A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R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A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</a:tr>
              <a:tr h="289039">
                <a:tc>
                  <a:txBody>
                    <a:bodyPr/>
                    <a:lstStyle/>
                    <a:p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Высадка саженцев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R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A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R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R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</a:tr>
              <a:tr h="374651">
                <a:tc>
                  <a:txBody>
                    <a:bodyPr/>
                    <a:lstStyle/>
                    <a:p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Контроль за содержанием и уходом на территория пилотного проекта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A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R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</a:tr>
              <a:tr h="325157">
                <a:tc>
                  <a:txBody>
                    <a:bodyPr/>
                    <a:lstStyle/>
                    <a:p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Итоги, отчеты.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A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R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 txBox="1">
            <a:spLocks/>
          </p:cNvSpPr>
          <p:nvPr/>
        </p:nvSpPr>
        <p:spPr>
          <a:xfrm>
            <a:off x="785208" y="6250038"/>
            <a:ext cx="10156371" cy="576941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000" dirty="0" smtClean="0"/>
              <a:t>Матрица ролей:</a:t>
            </a:r>
          </a:p>
          <a:p>
            <a:pPr marL="0" indent="0">
              <a:buNone/>
            </a:pPr>
            <a:r>
              <a:rPr lang="en-US" sz="1000" dirty="0" smtClean="0"/>
              <a:t>"</a:t>
            </a:r>
            <a:r>
              <a:rPr lang="en-US" sz="1000" dirty="0"/>
              <a:t>R" – </a:t>
            </a:r>
            <a:r>
              <a:rPr lang="ru-RU" sz="1000" dirty="0"/>
              <a:t>Исполнитель (</a:t>
            </a:r>
            <a:r>
              <a:rPr lang="en-US" sz="1000" dirty="0"/>
              <a:t>Responsible</a:t>
            </a:r>
            <a:r>
              <a:rPr lang="en-US" sz="1000" dirty="0" smtClean="0"/>
              <a:t>);</a:t>
            </a:r>
            <a:r>
              <a:rPr lang="ru-RU" sz="1000" dirty="0" smtClean="0"/>
              <a:t> </a:t>
            </a:r>
            <a:r>
              <a:rPr lang="en-US" sz="1000" dirty="0" smtClean="0"/>
              <a:t>"</a:t>
            </a:r>
            <a:r>
              <a:rPr lang="en-US" sz="1000" dirty="0"/>
              <a:t>A" – </a:t>
            </a:r>
            <a:r>
              <a:rPr lang="ru-RU" sz="1000" dirty="0"/>
              <a:t>Утверждающий (</a:t>
            </a:r>
            <a:r>
              <a:rPr lang="en-US" sz="1000" dirty="0"/>
              <a:t>Accountable</a:t>
            </a:r>
            <a:r>
              <a:rPr lang="en-US" sz="1000" dirty="0" smtClean="0"/>
              <a:t>);</a:t>
            </a:r>
            <a:r>
              <a:rPr lang="ru-RU" sz="1000" dirty="0" smtClean="0"/>
              <a:t> </a:t>
            </a:r>
            <a:r>
              <a:rPr lang="en-US" sz="1000" dirty="0" smtClean="0"/>
              <a:t>"</a:t>
            </a:r>
            <a:r>
              <a:rPr lang="ru-RU" sz="1000" dirty="0"/>
              <a:t>С" – Консультант (</a:t>
            </a:r>
            <a:r>
              <a:rPr lang="en-US" sz="1000" dirty="0"/>
              <a:t>Consulted</a:t>
            </a:r>
            <a:r>
              <a:rPr lang="en-US" sz="1000" dirty="0" smtClean="0"/>
              <a:t>);"</a:t>
            </a:r>
            <a:r>
              <a:rPr lang="en-US" sz="1000" dirty="0"/>
              <a:t>I" – </a:t>
            </a:r>
            <a:r>
              <a:rPr lang="ru-RU" sz="1000" dirty="0"/>
              <a:t>Информируемый (</a:t>
            </a:r>
            <a:r>
              <a:rPr lang="en-US" sz="1000" dirty="0"/>
              <a:t>Informed).</a:t>
            </a:r>
            <a:endParaRPr lang="ru-RU" sz="1000" dirty="0" smtClean="0"/>
          </a:p>
          <a:p>
            <a:endParaRPr lang="ru-RU" sz="1800" dirty="0" smtClean="0"/>
          </a:p>
          <a:p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111730614"/>
      </p:ext>
    </p:extLst>
  </p:cSld>
  <p:clrMapOvr>
    <a:masterClrMapping/>
  </p:clrMapOvr>
  <p:transition spd="slow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7262" y="934052"/>
            <a:ext cx="11252138" cy="304699"/>
          </a:xfrm>
        </p:spPr>
        <p:txBody>
          <a:bodyPr/>
          <a:lstStyle/>
          <a:p>
            <a:r>
              <a:rPr lang="ru-RU" sz="1100" b="0" spc="0" dirty="0"/>
              <a:t>Заказчик или лицо, выполняющее функцию заказчика (=владелец продукта, приёмщик результата проекта), функциональный заказчик (=пользователь продукта проекта), держатель бюджета, куратор, руководитель проекта, администратор проекта (если предусматривается), причастные заинтересованные стороны (</a:t>
            </a:r>
            <a:r>
              <a:rPr lang="ru-RU" sz="1100" b="0" spc="0" dirty="0" err="1"/>
              <a:t>стейкхолдеры</a:t>
            </a:r>
            <a:r>
              <a:rPr lang="ru-RU" sz="1100" b="0" spc="0" dirty="0"/>
              <a:t>).</a:t>
            </a: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81456320"/>
              </p:ext>
            </p:extLst>
          </p:nvPr>
        </p:nvGraphicFramePr>
        <p:xfrm>
          <a:off x="468312" y="2470150"/>
          <a:ext cx="11342687" cy="21998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985930"/>
                <a:gridCol w="9356757"/>
              </a:tblGrid>
              <a:tr h="4252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оль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Исполнитель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</a:tr>
              <a:tr h="4252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5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Заказчик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5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ФЕДЕРАЛЬНЫЙ ПРОЕКТ</a:t>
                      </a:r>
                      <a:r>
                        <a:rPr lang="ru-RU" sz="115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«ЧИСТЫ ВОЗДУХ», Администрация города Красноярска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</a:tr>
              <a:tr h="49872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5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Куратор проекта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5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Общественный Представитель Агентства Стратегических Инициатив по направлению городское развитие (Горбунов Андрей)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</a:tr>
              <a:tr h="4252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5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уководитель </a:t>
                      </a:r>
                      <a:r>
                        <a:rPr lang="ru-RU" sz="115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роекта/Идея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5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ихайлов Вячеслав, Точка Кипения Красноярск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</a:tr>
              <a:tr h="4252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5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Инвесторы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5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Бюджет города Красноярска, социальные программы промышленных предприятий на озеленение, НКО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7262" y="224022"/>
            <a:ext cx="11252138" cy="646331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ru-RU" sz="2800" dirty="0"/>
              <a:t>Команда проекта: Матрица ролей и ключевых участников 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5712641"/>
              </p:ext>
            </p:extLst>
          </p:nvPr>
        </p:nvGraphicFramePr>
        <p:xfrm>
          <a:off x="468310" y="4733669"/>
          <a:ext cx="11342688" cy="1097280"/>
        </p:xfrm>
        <a:graphic>
          <a:graphicData uri="http://schemas.openxmlformats.org/drawingml/2006/table">
            <a:tbl>
              <a:tblPr firstRow="1" bandRow="1">
                <a:tableStyleId>{284E427A-3D55-4303-BF80-6455036E1DE7}</a:tableStyleId>
              </a:tblPr>
              <a:tblGrid>
                <a:gridCol w="2002747"/>
                <a:gridCol w="9339941"/>
              </a:tblGrid>
              <a:tr h="353258">
                <a:tc>
                  <a:txBody>
                    <a:bodyPr/>
                    <a:lstStyle/>
                    <a:p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Команда проекта</a:t>
                      </a:r>
                      <a:endParaRPr lang="ru-RU" sz="11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Эксперты в области зеленых насаждений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: научные работники - Подоляк Н.А., Полякова Г.Г., Сухарев Е.Н.</a:t>
                      </a:r>
                      <a:endParaRPr lang="ru-RU" sz="1100" b="0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Эксперты сфере экологии: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Шахматов Денис, </a:t>
                      </a:r>
                    </a:p>
                    <a:p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Эксперт в области ландшафтного 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дизайна</a:t>
                      </a:r>
                    </a:p>
                    <a:p>
                      <a:r>
                        <a:rPr lang="ru-RU" sz="1100" b="0" dirty="0" smtClean="0">
                          <a:solidFill>
                            <a:srgbClr val="00B050"/>
                          </a:solidFill>
                          <a:latin typeface="+mj-lt"/>
                        </a:rPr>
                        <a:t>Специалист по работе с ОМСУ</a:t>
                      </a:r>
                    </a:p>
                    <a:p>
                      <a:r>
                        <a:rPr lang="ru-RU" sz="1100" b="0" dirty="0" smtClean="0">
                          <a:solidFill>
                            <a:srgbClr val="00B050"/>
                          </a:solidFill>
                          <a:latin typeface="+mj-lt"/>
                        </a:rPr>
                        <a:t>Бухгалтер-юрист</a:t>
                      </a:r>
                      <a:endParaRPr lang="ru-RU" sz="1100" b="0" dirty="0" smtClean="0">
                        <a:solidFill>
                          <a:srgbClr val="00B050"/>
                        </a:solidFill>
                        <a:latin typeface="+mj-lt"/>
                      </a:endParaRPr>
                    </a:p>
                    <a:p>
                      <a:endParaRPr lang="ru-RU" sz="11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0481350"/>
      </p:ext>
    </p:extLst>
  </p:cSld>
  <p:clrMapOvr>
    <a:masterClrMapping/>
  </p:clrMapOvr>
  <p:transition spd="slow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870353"/>
            <a:ext cx="11252138" cy="304699"/>
          </a:xfrm>
        </p:spPr>
        <p:txBody>
          <a:bodyPr/>
          <a:lstStyle/>
          <a:p>
            <a:r>
              <a:rPr lang="ru-RU" sz="1100" b="0" spc="0" dirty="0"/>
              <a:t>Заказчик или лицо, выполняющее функцию заказчика (=владелец продукта, приёмщик результата проекта), функциональный заказчик (=пользователь продукта проекта), держатель бюджета, куратор, руководитель проекта, администратор проекта (если предусматривается), причастные заинтересованные стороны (</a:t>
            </a:r>
            <a:r>
              <a:rPr lang="ru-RU" sz="1100" b="0" spc="0" dirty="0" err="1"/>
              <a:t>стейкхолдеры</a:t>
            </a:r>
            <a:r>
              <a:rPr lang="ru-RU" sz="1100" b="0" spc="0" dirty="0"/>
              <a:t>).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7262" y="224022"/>
            <a:ext cx="11252138" cy="646331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ru-RU" sz="2800" dirty="0"/>
              <a:t>Команда проекта: Матрица ролей и ключевых участников </a:t>
            </a: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79412948"/>
              </p:ext>
            </p:extLst>
          </p:nvPr>
        </p:nvGraphicFramePr>
        <p:xfrm>
          <a:off x="489919" y="2862944"/>
          <a:ext cx="11230656" cy="33985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99657"/>
                <a:gridCol w="8530999"/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Роль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Исполнитель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Потребители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Жители городских районов примыкающих к санитарным зонам промышленных предприятий, жители городских районов расположенных вдоль магистральных городских автодорог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Руководитель федерального проекта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Заместитель Председателя Правительства Российской Федерации</a:t>
                      </a:r>
                    </a:p>
                    <a:p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Руководитель Федеральной службы по надзору в сфере природопользования (Росприроднадзор)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Органы исполнительной власти субъекта РФ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Министр экологии и природопользования Правительства Красноярского края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Руководитель муниципального образования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Мэр города Красноярска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Промышленные предприятия 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Руководители подразделений</a:t>
                      </a: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</a:rPr>
                        <a:t> ответственные за снижение выбросов и воздействия на экологию. Руководители подразделений социальной политики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НКО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0" dirty="0" smtClean="0">
                          <a:solidFill>
                            <a:schemeClr val="tx1"/>
                          </a:solidFill>
                        </a:rPr>
                        <a:t>Руководители по городскому развитию, созданию зеленых насаждений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377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стройщик/Девелопер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иректор/собственник строительной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компании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8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 txBox="1">
            <a:spLocks/>
          </p:cNvSpPr>
          <p:nvPr/>
        </p:nvSpPr>
        <p:spPr>
          <a:xfrm>
            <a:off x="446314" y="2373086"/>
            <a:ext cx="11274261" cy="489858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1800" dirty="0" smtClean="0"/>
              <a:t>Ключевые заинтересованные стороны (</a:t>
            </a:r>
            <a:r>
              <a:rPr lang="ru-RU" sz="1800" dirty="0" err="1" smtClean="0"/>
              <a:t>стейкхолдеры</a:t>
            </a:r>
            <a:r>
              <a:rPr lang="ru-RU" sz="1800" dirty="0" smtClean="0"/>
              <a:t>) </a:t>
            </a:r>
          </a:p>
          <a:p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603432756"/>
      </p:ext>
    </p:extLst>
  </p:cSld>
  <p:clrMapOvr>
    <a:masterClrMapping/>
  </p:clrMapOvr>
  <p:transition spd="slow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52599"/>
            <a:ext cx="11252138" cy="166199"/>
          </a:xfrm>
        </p:spPr>
        <p:txBody>
          <a:bodyPr/>
          <a:lstStyle/>
          <a:p>
            <a:r>
              <a:rPr lang="ru-RU" sz="1200" b="0" spc="0" dirty="0"/>
              <a:t>Основные этапы проекта, контрольные точки, ведущие к достижению промежуточных и конечных результатов.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23360"/>
            <a:ext cx="11252138" cy="646331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ru-RU" sz="2800" dirty="0"/>
              <a:t>План </a:t>
            </a:r>
            <a:r>
              <a:rPr lang="ru-RU" sz="2800" dirty="0" smtClean="0"/>
              <a:t>реализации пилотного проекта</a:t>
            </a:r>
            <a:endParaRPr lang="ru-RU" sz="2800" dirty="0"/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57745990"/>
              </p:ext>
            </p:extLst>
          </p:nvPr>
        </p:nvGraphicFramePr>
        <p:xfrm>
          <a:off x="468313" y="1894114"/>
          <a:ext cx="11252200" cy="30044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Стрелка вниз 5"/>
          <p:cNvSpPr/>
          <p:nvPr/>
        </p:nvSpPr>
        <p:spPr>
          <a:xfrm>
            <a:off x="990600" y="2601686"/>
            <a:ext cx="326572" cy="620485"/>
          </a:xfrm>
          <a:prstGeom prst="downArrow">
            <a:avLst>
              <a:gd name="adj1" fmla="val 50000"/>
              <a:gd name="adj2" fmla="val 130000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468313" y="1748037"/>
            <a:ext cx="1861458" cy="81934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>
                <a:solidFill>
                  <a:schemeClr val="tx1"/>
                </a:solidFill>
              </a:rPr>
              <a:t>Региональное обсуждение и утверждение плана проекта</a:t>
            </a:r>
          </a:p>
        </p:txBody>
      </p:sp>
      <p:sp>
        <p:nvSpPr>
          <p:cNvPr id="8" name="Стрелка вниз 7"/>
          <p:cNvSpPr/>
          <p:nvPr/>
        </p:nvSpPr>
        <p:spPr>
          <a:xfrm rot="10800000">
            <a:off x="1632858" y="3592993"/>
            <a:ext cx="326572" cy="620485"/>
          </a:xfrm>
          <a:prstGeom prst="downArrow">
            <a:avLst>
              <a:gd name="adj1" fmla="val 50000"/>
              <a:gd name="adj2" fmla="val 130000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256156" y="4286517"/>
            <a:ext cx="2073616" cy="100946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 smtClean="0">
                <a:solidFill>
                  <a:schemeClr val="tx1"/>
                </a:solidFill>
              </a:rPr>
              <a:t>Утвержден экспертный совет</a:t>
            </a:r>
          </a:p>
          <a:p>
            <a:r>
              <a:rPr lang="ru-RU" sz="1100" dirty="0" smtClean="0">
                <a:solidFill>
                  <a:schemeClr val="tx1"/>
                </a:solidFill>
              </a:rPr>
              <a:t>Утверждены процедурные форм методологии </a:t>
            </a:r>
            <a:r>
              <a:rPr lang="ru-RU" sz="1100" dirty="0">
                <a:solidFill>
                  <a:schemeClr val="tx1"/>
                </a:solidFill>
              </a:rPr>
              <a:t>взаимодействия участников</a:t>
            </a:r>
          </a:p>
          <a:p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10" name="Стрелка вниз 9"/>
          <p:cNvSpPr/>
          <p:nvPr/>
        </p:nvSpPr>
        <p:spPr>
          <a:xfrm>
            <a:off x="4680856" y="2601685"/>
            <a:ext cx="326572" cy="620485"/>
          </a:xfrm>
          <a:prstGeom prst="downArrow">
            <a:avLst>
              <a:gd name="adj1" fmla="val 50000"/>
              <a:gd name="adj2" fmla="val 130000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2906826" y="4286517"/>
            <a:ext cx="1861458" cy="77393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>
                <a:solidFill>
                  <a:schemeClr val="tx1"/>
                </a:solidFill>
              </a:rPr>
              <a:t>Утверждены стандарты видового состава зеленых насаждений по </a:t>
            </a:r>
            <a:r>
              <a:rPr lang="ru-RU" sz="1100" dirty="0" smtClean="0">
                <a:solidFill>
                  <a:schemeClr val="tx1"/>
                </a:solidFill>
              </a:rPr>
              <a:t>ступеням. 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12" name="Стрелка вниз 11"/>
          <p:cNvSpPr/>
          <p:nvPr/>
        </p:nvSpPr>
        <p:spPr>
          <a:xfrm>
            <a:off x="2569482" y="2608713"/>
            <a:ext cx="326572" cy="620485"/>
          </a:xfrm>
          <a:prstGeom prst="downArrow">
            <a:avLst>
              <a:gd name="adj1" fmla="val 50000"/>
              <a:gd name="adj2" fmla="val 130000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2379832" y="1567197"/>
            <a:ext cx="2301024" cy="108603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 smtClean="0">
                <a:solidFill>
                  <a:schemeClr val="tx1"/>
                </a:solidFill>
              </a:rPr>
              <a:t>Определены </a:t>
            </a:r>
            <a:r>
              <a:rPr lang="ru-RU" sz="1100" dirty="0">
                <a:solidFill>
                  <a:schemeClr val="tx1"/>
                </a:solidFill>
              </a:rPr>
              <a:t>показатели финансирования.</a:t>
            </a:r>
          </a:p>
          <a:p>
            <a:r>
              <a:rPr lang="ru-RU" sz="1100" dirty="0">
                <a:solidFill>
                  <a:schemeClr val="tx1"/>
                </a:solidFill>
              </a:rPr>
              <a:t>Утверждены городские территории для реализации </a:t>
            </a:r>
            <a:r>
              <a:rPr lang="ru-RU" sz="1100" dirty="0" smtClean="0">
                <a:solidFill>
                  <a:schemeClr val="tx1"/>
                </a:solidFill>
              </a:rPr>
              <a:t>пилотного проекта в наступающем году.</a:t>
            </a:r>
          </a:p>
        </p:txBody>
      </p:sp>
      <p:sp>
        <p:nvSpPr>
          <p:cNvPr id="14" name="Стрелка вниз 13"/>
          <p:cNvSpPr/>
          <p:nvPr/>
        </p:nvSpPr>
        <p:spPr>
          <a:xfrm rot="10800000">
            <a:off x="5497172" y="3592991"/>
            <a:ext cx="326572" cy="620485"/>
          </a:xfrm>
          <a:prstGeom prst="downArrow">
            <a:avLst>
              <a:gd name="adj1" fmla="val 50000"/>
              <a:gd name="adj2" fmla="val 130000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4729729" y="1726369"/>
            <a:ext cx="1861458" cy="81934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 smtClean="0">
                <a:solidFill>
                  <a:schemeClr val="tx1"/>
                </a:solidFill>
              </a:rPr>
              <a:t>Определены источники зеленых насаждений. Утверждены виды и направления развития сети питомников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16" name="Стрелка вниз 15"/>
          <p:cNvSpPr/>
          <p:nvPr/>
        </p:nvSpPr>
        <p:spPr>
          <a:xfrm rot="10800000">
            <a:off x="3902754" y="3592992"/>
            <a:ext cx="326572" cy="620485"/>
          </a:xfrm>
          <a:prstGeom prst="downArrow">
            <a:avLst>
              <a:gd name="adj1" fmla="val 50000"/>
              <a:gd name="adj2" fmla="val 130000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5163684" y="4241110"/>
            <a:ext cx="1861458" cy="81934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 smtClean="0">
                <a:solidFill>
                  <a:schemeClr val="tx1"/>
                </a:solidFill>
              </a:rPr>
              <a:t>Закуплены саженцы. Высадка на первой территории осуществлена. 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18" name="Стрелка вниз 17"/>
          <p:cNvSpPr/>
          <p:nvPr/>
        </p:nvSpPr>
        <p:spPr>
          <a:xfrm rot="10800000">
            <a:off x="9138837" y="3592990"/>
            <a:ext cx="326572" cy="620485"/>
          </a:xfrm>
          <a:prstGeom prst="downArrow">
            <a:avLst>
              <a:gd name="adj1" fmla="val 50000"/>
              <a:gd name="adj2" fmla="val 130000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7602196" y="4213475"/>
            <a:ext cx="1861458" cy="81934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 smtClean="0">
                <a:solidFill>
                  <a:schemeClr val="tx1"/>
                </a:solidFill>
              </a:rPr>
              <a:t>Закуплены саженцы. Высадка на второй территории осуществлена. 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20" name="Стрелка вниз 19"/>
          <p:cNvSpPr/>
          <p:nvPr/>
        </p:nvSpPr>
        <p:spPr>
          <a:xfrm>
            <a:off x="6870415" y="2618895"/>
            <a:ext cx="326572" cy="620485"/>
          </a:xfrm>
          <a:prstGeom prst="downArrow">
            <a:avLst>
              <a:gd name="adj1" fmla="val 50000"/>
              <a:gd name="adj2" fmla="val 130000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6910670" y="1748037"/>
            <a:ext cx="1861458" cy="81934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 smtClean="0">
                <a:solidFill>
                  <a:schemeClr val="tx1"/>
                </a:solidFill>
              </a:rPr>
              <a:t>Начало ландшафтных работ на границе санитарной зоны. Подготовка для создания.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24" name="Стрелка вниз 23"/>
          <p:cNvSpPr/>
          <p:nvPr/>
        </p:nvSpPr>
        <p:spPr>
          <a:xfrm>
            <a:off x="9702857" y="2601684"/>
            <a:ext cx="326572" cy="620485"/>
          </a:xfrm>
          <a:prstGeom prst="downArrow">
            <a:avLst>
              <a:gd name="adj1" fmla="val 50000"/>
              <a:gd name="adj2" fmla="val 130000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38836" y="1748037"/>
            <a:ext cx="2026389" cy="81934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 smtClean="0">
                <a:solidFill>
                  <a:schemeClr val="tx1"/>
                </a:solidFill>
              </a:rPr>
              <a:t>Завершены мероприятия по подготовке к зимнему сезону. Утвержден план контрольных мероприятий.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26" name="Стрелка вниз 25"/>
          <p:cNvSpPr/>
          <p:nvPr/>
        </p:nvSpPr>
        <p:spPr>
          <a:xfrm rot="10800000">
            <a:off x="11165225" y="3612072"/>
            <a:ext cx="326572" cy="1613415"/>
          </a:xfrm>
          <a:prstGeom prst="downArrow">
            <a:avLst>
              <a:gd name="adj1" fmla="val 50000"/>
              <a:gd name="adj2" fmla="val 130000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6705599" y="5295981"/>
            <a:ext cx="5148943" cy="10721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 smtClean="0">
                <a:solidFill>
                  <a:schemeClr val="tx1"/>
                </a:solidFill>
              </a:rPr>
              <a:t>Подведение итогов, утверждены финансовые отчеты. </a:t>
            </a:r>
          </a:p>
          <a:p>
            <a:r>
              <a:rPr lang="ru-RU" sz="1100" dirty="0" smtClean="0">
                <a:solidFill>
                  <a:schemeClr val="tx1"/>
                </a:solidFill>
              </a:rPr>
              <a:t>Внесены и утверждены изменения в процедуры (в случае необходимости).</a:t>
            </a:r>
          </a:p>
          <a:p>
            <a:r>
              <a:rPr lang="ru-RU" sz="1100" dirty="0" smtClean="0">
                <a:solidFill>
                  <a:schemeClr val="tx1"/>
                </a:solidFill>
              </a:rPr>
              <a:t>Отчет экспертного совета утвержден.</a:t>
            </a:r>
          </a:p>
          <a:p>
            <a:r>
              <a:rPr lang="ru-RU" sz="1100" dirty="0" smtClean="0">
                <a:solidFill>
                  <a:schemeClr val="tx1"/>
                </a:solidFill>
              </a:rPr>
              <a:t>Определены </a:t>
            </a:r>
            <a:r>
              <a:rPr lang="ru-RU" sz="1100" dirty="0">
                <a:solidFill>
                  <a:schemeClr val="tx1"/>
                </a:solidFill>
              </a:rPr>
              <a:t>показатели финансирования.</a:t>
            </a:r>
          </a:p>
          <a:p>
            <a:r>
              <a:rPr lang="ru-RU" sz="1100" dirty="0">
                <a:solidFill>
                  <a:schemeClr val="tx1"/>
                </a:solidFill>
              </a:rPr>
              <a:t>Утверждены городские территории для реализации в </a:t>
            </a:r>
            <a:r>
              <a:rPr lang="ru-RU" sz="1100" dirty="0" smtClean="0">
                <a:solidFill>
                  <a:schemeClr val="tx1"/>
                </a:solidFill>
              </a:rPr>
              <a:t>наступающем году.</a:t>
            </a:r>
          </a:p>
        </p:txBody>
      </p:sp>
    </p:spTree>
    <p:extLst>
      <p:ext uri="{BB962C8B-B14F-4D97-AF65-F5344CB8AC3E}">
        <p14:creationId xmlns:p14="http://schemas.microsoft.com/office/powerpoint/2010/main" val="739703040"/>
      </p:ext>
    </p:extLst>
  </p:cSld>
  <p:clrMapOvr>
    <a:masterClrMapping/>
  </p:clrMapOvr>
  <p:transition spd="slow">
    <p:wipe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73374"/>
            <a:ext cx="11252138" cy="166199"/>
          </a:xfrm>
        </p:spPr>
        <p:txBody>
          <a:bodyPr/>
          <a:lstStyle/>
          <a:p>
            <a:r>
              <a:rPr lang="ru-RU" sz="1200" b="0" kern="1200" spc="0" dirty="0">
                <a:solidFill>
                  <a:schemeClr val="dk1"/>
                </a:solidFill>
              </a:rPr>
              <a:t>Источники финансирования, наличие команды, инфраструктура и т.д.</a:t>
            </a:r>
            <a:endParaRPr lang="ru-RU" sz="1200" b="0" spc="0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268184"/>
            <a:ext cx="11252138" cy="5132616"/>
          </a:xfrm>
        </p:spPr>
        <p:txBody>
          <a:bodyPr/>
          <a:lstStyle/>
          <a:p>
            <a:r>
              <a:rPr lang="ru-RU" sz="1800" dirty="0"/>
              <a:t>Источники финансирования: </a:t>
            </a:r>
            <a:r>
              <a:rPr lang="ru-RU" sz="1800" dirty="0" smtClean="0"/>
              <a:t>Бюджет города Красноярска на озеленение (в части), региональные </a:t>
            </a:r>
            <a:r>
              <a:rPr lang="ru-RU" sz="1800" dirty="0"/>
              <a:t>фонды </a:t>
            </a:r>
            <a:r>
              <a:rPr lang="ru-RU" sz="1800" dirty="0" smtClean="0"/>
              <a:t>развития, программы озеленения промышленных предприятий («</a:t>
            </a:r>
            <a:r>
              <a:rPr lang="ru-RU" sz="1800" dirty="0" err="1" smtClean="0"/>
              <a:t>Русал</a:t>
            </a:r>
            <a:r>
              <a:rPr lang="ru-RU" sz="1800" dirty="0" smtClean="0"/>
              <a:t> Красноярск», СГК, «Красноярский Цемент», «Волна», «Красцветмет», Красмаш», «Краском»), федеральные гранты по благоустройству городов, Федеральный проект «Чистый воздух».</a:t>
            </a:r>
            <a:endParaRPr lang="ru-RU" sz="1800" dirty="0"/>
          </a:p>
          <a:p>
            <a:r>
              <a:rPr lang="ru-RU" sz="1800" dirty="0" smtClean="0"/>
              <a:t>Команда </a:t>
            </a:r>
            <a:r>
              <a:rPr lang="ru-RU" sz="1800" dirty="0"/>
              <a:t>проекта: </a:t>
            </a:r>
            <a:r>
              <a:rPr lang="ru-RU" sz="1800" dirty="0" smtClean="0"/>
              <a:t>Эксперты </a:t>
            </a:r>
            <a:r>
              <a:rPr lang="ru-RU" sz="1800" dirty="0"/>
              <a:t>в области зеленых насаждений (научные </a:t>
            </a:r>
            <a:r>
              <a:rPr lang="ru-RU" sz="1800" dirty="0" smtClean="0"/>
              <a:t>работники), Эксперты </a:t>
            </a:r>
            <a:r>
              <a:rPr lang="ru-RU" sz="1800" dirty="0"/>
              <a:t>сфере </a:t>
            </a:r>
            <a:r>
              <a:rPr lang="ru-RU" sz="1800" dirty="0" smtClean="0"/>
              <a:t>экологии, Эксперт </a:t>
            </a:r>
            <a:r>
              <a:rPr lang="ru-RU" sz="1800" dirty="0"/>
              <a:t>в области ландшафтного </a:t>
            </a:r>
            <a:r>
              <a:rPr lang="ru-RU" sz="1800" dirty="0" smtClean="0"/>
              <a:t>дизайна. </a:t>
            </a:r>
            <a:endParaRPr lang="ru-RU" sz="1800" dirty="0"/>
          </a:p>
          <a:p>
            <a:r>
              <a:rPr lang="ru-RU" sz="1800" dirty="0" smtClean="0"/>
              <a:t>Экспертная </a:t>
            </a:r>
            <a:r>
              <a:rPr lang="ru-RU" sz="1800" dirty="0"/>
              <a:t>поддержка: </a:t>
            </a:r>
            <a:r>
              <a:rPr lang="ru-RU" sz="1800" dirty="0" smtClean="0"/>
              <a:t>Институт Леса СФУ</a:t>
            </a:r>
            <a:endParaRPr lang="ru-RU" sz="1800" dirty="0"/>
          </a:p>
          <a:p>
            <a:r>
              <a:rPr lang="ru-RU" sz="1800" dirty="0" smtClean="0"/>
              <a:t>Ресурсы </a:t>
            </a:r>
            <a:r>
              <a:rPr lang="ru-RU" sz="1800" dirty="0"/>
              <a:t>по продвижению проекта: Административные ресурсы </a:t>
            </a:r>
            <a:r>
              <a:rPr lang="ru-RU" sz="1800" dirty="0" smtClean="0"/>
              <a:t>администрации города Красноярска, ресурсы </a:t>
            </a:r>
            <a:r>
              <a:rPr lang="ru-RU" sz="1800" dirty="0"/>
              <a:t>Интернет, </a:t>
            </a:r>
            <a:r>
              <a:rPr lang="ru-RU" sz="1800" dirty="0" smtClean="0"/>
              <a:t>ресурсы промышленных предприятий.</a:t>
            </a:r>
            <a:endParaRPr lang="ru-RU" sz="1800" dirty="0"/>
          </a:p>
          <a:p>
            <a:r>
              <a:rPr lang="ru-RU" sz="1800" dirty="0" smtClean="0"/>
              <a:t>Информация</a:t>
            </a:r>
            <a:r>
              <a:rPr lang="ru-RU" sz="1800" dirty="0"/>
              <a:t>: Накопленная база готовых решений, в т.ч. международная практика, сводный каталог стандартов зеленых насаждений</a:t>
            </a:r>
          </a:p>
          <a:p>
            <a:r>
              <a:rPr lang="ru-RU" sz="1800" dirty="0" smtClean="0"/>
              <a:t>Связи </a:t>
            </a:r>
            <a:r>
              <a:rPr lang="ru-RU" sz="1800" dirty="0"/>
              <a:t>и партнеры</a:t>
            </a:r>
            <a:r>
              <a:rPr lang="ru-RU" sz="1800" dirty="0" smtClean="0"/>
              <a:t>: Поддержка </a:t>
            </a:r>
            <a:r>
              <a:rPr lang="ru-RU" sz="1800" dirty="0"/>
              <a:t>государственных структур на региональном и федеральном уровне</a:t>
            </a:r>
          </a:p>
          <a:p>
            <a:r>
              <a:rPr lang="ru-RU" sz="1800" dirty="0" smtClean="0"/>
              <a:t>Технология: Готовые </a:t>
            </a:r>
            <a:r>
              <a:rPr lang="ru-RU" sz="1800" dirty="0"/>
              <a:t>механизмы создания </a:t>
            </a:r>
            <a:r>
              <a:rPr lang="ru-RU" sz="1800" dirty="0" smtClean="0"/>
              <a:t>компонентов </a:t>
            </a:r>
            <a:r>
              <a:rPr lang="ru-RU" sz="1800" dirty="0"/>
              <a:t>проект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74776"/>
            <a:ext cx="11252138" cy="387798"/>
          </a:xfrm>
        </p:spPr>
        <p:txBody>
          <a:bodyPr/>
          <a:lstStyle/>
          <a:p>
            <a:r>
              <a:rPr lang="ru-RU" sz="2800" dirty="0"/>
              <a:t>Ресурсное обеспечение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1634199270"/>
      </p:ext>
    </p:extLst>
  </p:cSld>
  <p:clrMapOvr>
    <a:masterClrMapping/>
  </p:clrMapOvr>
  <p:transition spd="slow"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73374"/>
            <a:ext cx="11252138" cy="166199"/>
          </a:xfrm>
        </p:spPr>
        <p:txBody>
          <a:bodyPr/>
          <a:lstStyle/>
          <a:p>
            <a:r>
              <a:rPr lang="ru-RU" sz="1200" b="0" kern="1200" spc="0" dirty="0">
                <a:solidFill>
                  <a:schemeClr val="dk1"/>
                </a:solidFill>
              </a:rPr>
              <a:t>Источники финансирования, наличие команды, инфраструктура и т.д.</a:t>
            </a:r>
            <a:endParaRPr lang="ru-RU" sz="1200" b="0" spc="0" dirty="0"/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69464095"/>
              </p:ext>
            </p:extLst>
          </p:nvPr>
        </p:nvGraphicFramePr>
        <p:xfrm>
          <a:off x="359456" y="1163776"/>
          <a:ext cx="11252200" cy="53035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813050"/>
                <a:gridCol w="2813050"/>
                <a:gridCol w="2813050"/>
                <a:gridCol w="281305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ВИДЫ РАСХОДОВ		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	ИСТОЧНИК		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	ФОРМА ФИНАНСИРОВАНИЯ		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	</a:t>
                      </a:r>
                      <a:r>
                        <a:rPr lang="ru-RU" sz="16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ОБЪЕМ ФИНАНСИРОВАНИЯ,</a:t>
                      </a:r>
                    </a:p>
                    <a:p>
                      <a:pPr algn="ctr"/>
                      <a:r>
                        <a:rPr lang="ru-RU" sz="18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МЛН. РУБ.	</a:t>
                      </a: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РАСХОДЫ НА ОПЛАТУ ТРУДА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	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Средства</a:t>
                      </a:r>
                      <a:r>
                        <a:rPr lang="ru-RU" sz="1400" b="1" baseline="0" dirty="0" smtClean="0"/>
                        <a:t> участников</a:t>
                      </a:r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Прямая</a:t>
                      </a:r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1,0</a:t>
                      </a:r>
                      <a:endParaRPr lang="ru-RU" sz="14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	</a:t>
                      </a:r>
                    </a:p>
                    <a:p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МАТЕРИАЛЬНО-ТЕХНИЧЕСКИЕ РАСХОДЫ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	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/>
                        <a:t>Средства</a:t>
                      </a:r>
                      <a:r>
                        <a:rPr lang="ru-RU" sz="1400" b="1" baseline="0" dirty="0" smtClean="0"/>
                        <a:t> участников</a:t>
                      </a:r>
                      <a:endParaRPr lang="ru-RU" sz="1400" b="1" dirty="0" smtClean="0"/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Прямая</a:t>
                      </a:r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8,0</a:t>
                      </a:r>
                      <a:endParaRPr lang="ru-RU" sz="14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	</a:t>
                      </a:r>
                    </a:p>
                    <a:p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РАБОТЫ И УСЛУГИ ТРЕТЬИХ ЛИЦ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	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Средства участников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Договорная</a:t>
                      </a:r>
                      <a:r>
                        <a:rPr lang="ru-RU" sz="1400" b="1" baseline="0" dirty="0" smtClean="0"/>
                        <a:t> </a:t>
                      </a:r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До 1,0</a:t>
                      </a:r>
                      <a:endParaRPr lang="ru-RU" sz="14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	</a:t>
                      </a:r>
                    </a:p>
                    <a:p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РАСХОДЫ НА СОДЕРЖАНИЕ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	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Средства бюджета</a:t>
                      </a:r>
                      <a:r>
                        <a:rPr lang="ru-RU" sz="1400" b="1" baseline="0" dirty="0" smtClean="0"/>
                        <a:t> города</a:t>
                      </a:r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Прямая</a:t>
                      </a:r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До 2,0</a:t>
                      </a:r>
                      <a:endParaRPr lang="ru-RU" sz="1400" b="1" dirty="0"/>
                    </a:p>
                  </a:txBody>
                  <a:tcPr/>
                </a:tc>
              </a:tr>
              <a:tr h="681106">
                <a:tc>
                  <a:txBody>
                    <a:bodyPr/>
                    <a:lstStyle/>
                    <a:p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	</a:t>
                      </a:r>
                    </a:p>
                    <a:p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РАСХОДЫ НА ПРОГРАММНОЕ ОБЕСПЕЧЕНИЕ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	</a:t>
                      </a:r>
                    </a:p>
                    <a:p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	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Средства участников</a:t>
                      </a:r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Договорная</a:t>
                      </a:r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До 0,3</a:t>
                      </a:r>
                      <a:endParaRPr lang="ru-RU" sz="14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	</a:t>
                      </a:r>
                    </a:p>
                    <a:p>
                      <a:r>
                        <a:rPr lang="ru-RU" sz="1400" b="1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ИТОГО РАСХОДЫ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	</a:t>
                      </a:r>
                    </a:p>
                    <a:p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</a:rPr>
                        <a:t>	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12,3</a:t>
                      </a:r>
                      <a:endParaRPr lang="ru-RU" sz="1400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74776"/>
            <a:ext cx="11252138" cy="387798"/>
          </a:xfrm>
        </p:spPr>
        <p:txBody>
          <a:bodyPr/>
          <a:lstStyle/>
          <a:p>
            <a:r>
              <a:rPr lang="ru-RU" sz="2800" dirty="0"/>
              <a:t>Ресурсное обеспечение </a:t>
            </a:r>
            <a:r>
              <a:rPr lang="ru-RU" sz="2800" dirty="0" smtClean="0"/>
              <a:t>пилотного проекта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1703728150"/>
      </p:ext>
    </p:extLst>
  </p:cSld>
  <p:clrMapOvr>
    <a:masterClrMapping/>
  </p:clrMapOvr>
  <p:transition spd="slow">
    <p:wipe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73374"/>
            <a:ext cx="11252138" cy="184666"/>
          </a:xfrm>
        </p:spPr>
        <p:txBody>
          <a:bodyPr/>
          <a:lstStyle/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200" b="0" kern="1200" spc="0" dirty="0">
                <a:solidFill>
                  <a:schemeClr val="dk1"/>
                </a:solidFill>
              </a:rPr>
              <a:t>Перечень ключевых рисков.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6347" y="1602613"/>
            <a:ext cx="11252200" cy="4068763"/>
          </a:xfrm>
        </p:spPr>
        <p:txBody>
          <a:bodyPr/>
          <a:lstStyle/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44135"/>
            <a:ext cx="11252138" cy="646331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2800" dirty="0"/>
              <a:t>Риски </a:t>
            </a: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095789990"/>
              </p:ext>
            </p:extLst>
          </p:nvPr>
        </p:nvGraphicFramePr>
        <p:xfrm>
          <a:off x="566347" y="703898"/>
          <a:ext cx="11048709" cy="58661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26934611"/>
      </p:ext>
    </p:extLst>
  </p:cSld>
  <p:clrMapOvr>
    <a:masterClrMapping/>
  </p:clrMapOvr>
  <p:transition spd="slow"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73374"/>
            <a:ext cx="11252138" cy="184666"/>
          </a:xfrm>
        </p:spPr>
        <p:txBody>
          <a:bodyPr/>
          <a:lstStyle/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endParaRPr lang="ru-RU" sz="1200" b="0" kern="1200" spc="0" dirty="0">
              <a:solidFill>
                <a:schemeClr val="dk1"/>
              </a:solidFill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44135"/>
            <a:ext cx="11252138" cy="83099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2800" dirty="0"/>
              <a:t>Риски</a:t>
            </a:r>
            <a:r>
              <a:rPr lang="ru-RU" sz="3600" dirty="0"/>
              <a:t> </a:t>
            </a: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 txBox="1">
            <a:spLocks/>
          </p:cNvSpPr>
          <p:nvPr/>
        </p:nvSpPr>
        <p:spPr>
          <a:xfrm>
            <a:off x="468375" y="1417947"/>
            <a:ext cx="11252200" cy="4906653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8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 txBox="1">
            <a:spLocks/>
          </p:cNvSpPr>
          <p:nvPr/>
        </p:nvSpPr>
        <p:spPr>
          <a:xfrm>
            <a:off x="468313" y="1082224"/>
            <a:ext cx="11252200" cy="5351233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 smtClean="0"/>
              <a:t>Внешние риски:</a:t>
            </a:r>
          </a:p>
          <a:p>
            <a:pPr marL="0" indent="0">
              <a:buNone/>
            </a:pPr>
            <a:r>
              <a:rPr lang="ru-RU" sz="1400" dirty="0" smtClean="0"/>
              <a:t>Погодные условия при высадке, подрядчики/поставщики, регулирующие органы, Заказчик.</a:t>
            </a:r>
          </a:p>
          <a:p>
            <a:pPr marL="0" indent="0">
              <a:buNone/>
            </a:pPr>
            <a:r>
              <a:rPr lang="ru-RU" sz="1400" b="1" u="sng" dirty="0" smtClean="0"/>
              <a:t>Управление внешними рисками:</a:t>
            </a:r>
          </a:p>
          <a:p>
            <a:pPr marL="342900" indent="-342900">
              <a:buAutoNum type="arabicPeriod"/>
            </a:pPr>
            <a:r>
              <a:rPr lang="ru-RU" sz="1400" dirty="0" smtClean="0"/>
              <a:t>Применение и соблюдение технологий высадки при неблагоприятных условиях</a:t>
            </a:r>
          </a:p>
          <a:p>
            <a:pPr marL="342900" indent="-342900">
              <a:buAutoNum type="arabicPeriod"/>
            </a:pPr>
            <a:r>
              <a:rPr lang="ru-RU" sz="1400" dirty="0" smtClean="0"/>
              <a:t>Обязательное наличие альтернативных подрядчиков\поставщиков</a:t>
            </a:r>
          </a:p>
          <a:p>
            <a:pPr marL="342900" indent="-342900">
              <a:buAutoNum type="arabicPeriod"/>
            </a:pPr>
            <a:r>
              <a:rPr lang="ru-RU" sz="1400" dirty="0" smtClean="0"/>
              <a:t>Документарное оформление </a:t>
            </a:r>
          </a:p>
          <a:p>
            <a:pPr marL="342900" indent="-342900">
              <a:buAutoNum type="arabicPeriod"/>
            </a:pPr>
            <a:r>
              <a:rPr lang="ru-RU" sz="1400" dirty="0" smtClean="0"/>
              <a:t>Согласованный план с Заказчиком </a:t>
            </a:r>
          </a:p>
          <a:p>
            <a:r>
              <a:rPr lang="ru-RU" sz="1800" dirty="0" smtClean="0"/>
              <a:t>Внутренние риски:</a:t>
            </a:r>
          </a:p>
          <a:p>
            <a:pPr marL="0" indent="0">
              <a:buNone/>
            </a:pPr>
            <a:r>
              <a:rPr lang="ru-RU" sz="1400" dirty="0" smtClean="0"/>
              <a:t>Организационные, показатели финансирования, ресурсы, внутренние процедуры (контроль, взаимодействие между участниками проекта, коммуникации), требования к стандартам, оценка качества и выполнения работ.</a:t>
            </a:r>
          </a:p>
          <a:p>
            <a:pPr marL="0" indent="0">
              <a:buNone/>
            </a:pPr>
            <a:r>
              <a:rPr lang="ru-RU" sz="1400" b="1" u="sng" dirty="0"/>
              <a:t>Управление </a:t>
            </a:r>
            <a:r>
              <a:rPr lang="ru-RU" sz="1400" b="1" u="sng" dirty="0" smtClean="0"/>
              <a:t>внутренними </a:t>
            </a:r>
            <a:r>
              <a:rPr lang="ru-RU" sz="1400" b="1" u="sng" dirty="0"/>
              <a:t>рисками:</a:t>
            </a:r>
          </a:p>
          <a:p>
            <a:pPr marL="342900" indent="-342900">
              <a:buAutoNum type="arabicPeriod"/>
            </a:pPr>
            <a:r>
              <a:rPr lang="ru-RU" sz="1400" dirty="0" smtClean="0"/>
              <a:t>Утверждение методологии взаимодействия участников проекта. </a:t>
            </a:r>
          </a:p>
          <a:p>
            <a:pPr marL="342900" indent="-342900">
              <a:buAutoNum type="arabicPeriod"/>
            </a:pPr>
            <a:r>
              <a:rPr lang="ru-RU" sz="1400" dirty="0" smtClean="0"/>
              <a:t>Утверждение финансирования, утверждение показателей используемых ресурсов участников проекта.</a:t>
            </a:r>
          </a:p>
          <a:p>
            <a:pPr marL="342900" indent="-342900">
              <a:buAutoNum type="arabicPeriod"/>
            </a:pPr>
            <a:r>
              <a:rPr lang="ru-RU" sz="1400" dirty="0" smtClean="0"/>
              <a:t>Утверждение экспертного совета проекта на основе компетенций.</a:t>
            </a:r>
          </a:p>
          <a:p>
            <a:pPr marL="342900" indent="-342900">
              <a:buAutoNum type="arabicPeriod"/>
            </a:pPr>
            <a:r>
              <a:rPr lang="ru-RU" sz="1400" dirty="0" smtClean="0"/>
              <a:t>Разработка и утверждение стандартов работ. Разработка и утверждение оценки и принятия работ.</a:t>
            </a:r>
          </a:p>
          <a:p>
            <a:pPr marL="342900" indent="-342900">
              <a:buAutoNum type="arabicPeriod"/>
            </a:pPr>
            <a:endParaRPr lang="ru-RU" sz="1400" dirty="0" smtClean="0"/>
          </a:p>
          <a:p>
            <a:pPr marL="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48624096"/>
      </p:ext>
    </p:extLst>
  </p:cSld>
  <p:clrMapOvr>
    <a:masterClrMapping/>
  </p:clrMapOvr>
  <p:transition spd="slow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/>
          <a:lstStyle/>
          <a:p>
            <a:r>
              <a:rPr lang="ru-RU" sz="1200" b="0" spc="0" dirty="0"/>
              <a:t>Какую актуальную проблему адресует проект ? Каков масштаб проблемы? Приведите ключевые данные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7746" y="1240971"/>
            <a:ext cx="11252200" cy="5192486"/>
          </a:xfrm>
        </p:spPr>
        <p:txBody>
          <a:bodyPr/>
          <a:lstStyle/>
          <a:p>
            <a:r>
              <a:rPr lang="ru-RU" sz="1800" dirty="0"/>
              <a:t>Неудовлетворительное качество городской </a:t>
            </a:r>
            <a:r>
              <a:rPr lang="ru-RU" sz="1800" dirty="0" smtClean="0"/>
              <a:t>среды: </a:t>
            </a:r>
          </a:p>
          <a:p>
            <a:r>
              <a:rPr lang="ru-RU" sz="1400" dirty="0"/>
              <a:t>По итогу 2018 года, в Красноярске объем выбросов составил 192,3 тыс. тонн, из них стационарные источники (включая промышленность (металлургия)  - 55,1тыс. тонн, предприятия энергетики 39,5 тыс. тонн) – 116 тыс. тонн, передвижные источники (включая автотранспорт) – 76,3 тыс. </a:t>
            </a:r>
            <a:r>
              <a:rPr lang="ru-RU" sz="1400" dirty="0" smtClean="0"/>
              <a:t>тонн (данные </a:t>
            </a:r>
            <a:r>
              <a:rPr lang="ru-RU" sz="1400" dirty="0"/>
              <a:t>Государственного доклада О состоянии и охране окружающей среды в Красноярском крае в 2018 </a:t>
            </a:r>
            <a:r>
              <a:rPr lang="ru-RU" sz="1400" dirty="0" smtClean="0"/>
              <a:t>году).</a:t>
            </a:r>
            <a:endParaRPr lang="ru-RU" sz="1400" dirty="0"/>
          </a:p>
          <a:p>
            <a:r>
              <a:rPr lang="ru-RU" sz="1400" dirty="0" smtClean="0"/>
              <a:t>12 городов РФ, включая Красноярск с высоким уровнем загрязнения воздуха, включены в состав Федерального проекта «Чистый воздух». Цель проекта снизить </a:t>
            </a:r>
            <a:r>
              <a:rPr lang="ru-RU" sz="1400" dirty="0"/>
              <a:t>совокупный объем вредных выбросов в атмосферный воздух в крупных промышленных центрах более чем на 20 % от выброшенного объема в 2017 </a:t>
            </a:r>
            <a:r>
              <a:rPr lang="ru-RU" sz="1400" dirty="0" smtClean="0"/>
              <a:t>году.</a:t>
            </a:r>
          </a:p>
          <a:p>
            <a:r>
              <a:rPr lang="ru-RU" sz="1400" dirty="0" smtClean="0"/>
              <a:t>Города с высоким количеством транспорта (более 250 единиц транспорта на 1000 жителей) дополнительно несут нагрузку на воздух в приземном слое. </a:t>
            </a:r>
          </a:p>
          <a:p>
            <a:r>
              <a:rPr lang="ru-RU" sz="1400" dirty="0" smtClean="0"/>
              <a:t>Деградация и отсутствие планов по развитию зеленых насаждений для очищения и обеспылевания воздуха в городах. Градостроительная деятельность препятствует продуваемости городов в целом.</a:t>
            </a:r>
          </a:p>
          <a:p>
            <a:r>
              <a:rPr lang="ru-RU" sz="1400" dirty="0" smtClean="0"/>
              <a:t>Городские пространства не имеют экологического вектора развития.</a:t>
            </a:r>
          </a:p>
          <a:p>
            <a:r>
              <a:rPr lang="ru-RU" sz="1400" dirty="0" smtClean="0"/>
              <a:t>Отсутствие стандартов по уходу, высадке, содержанию зеленых насаждений. Отсутствие видового состава относительно характера загрязнения воздуха городов и климатических условий.</a:t>
            </a:r>
          </a:p>
          <a:p>
            <a:r>
              <a:rPr lang="ru-RU" sz="1800" dirty="0" smtClean="0"/>
              <a:t>Таким образом, города с численным населением от 100 тысяч жителей, большой нагрузкой </a:t>
            </a:r>
            <a:r>
              <a:rPr lang="ru-RU" sz="1800" dirty="0"/>
              <a:t>промышленных предприятий </a:t>
            </a:r>
            <a:r>
              <a:rPr lang="ru-RU" sz="1800" dirty="0" smtClean="0"/>
              <a:t>(металлургия, машиностроения, нефтеперерабатывающей и химическая промышленности), предприятиями энергетики (угольная генерация), с высоким количеством автотранспорта имеют типичную проблему </a:t>
            </a:r>
            <a:r>
              <a:rPr lang="ru-RU" sz="1800" dirty="0" err="1" smtClean="0"/>
              <a:t>неудволетворильного</a:t>
            </a:r>
            <a:r>
              <a:rPr lang="ru-RU" sz="1800" dirty="0" smtClean="0"/>
              <a:t> качества городской среды.</a:t>
            </a:r>
          </a:p>
          <a:p>
            <a:endParaRPr lang="ru-RU" sz="1400" dirty="0" smtClean="0"/>
          </a:p>
          <a:p>
            <a:endParaRPr lang="ru-RU" sz="1400" dirty="0" smtClean="0"/>
          </a:p>
          <a:p>
            <a:endParaRPr lang="ru-RU" sz="1400" dirty="0"/>
          </a:p>
          <a:p>
            <a:endParaRPr lang="ru-RU" sz="1800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427538"/>
            <a:ext cx="11252138" cy="498598"/>
          </a:xfrm>
        </p:spPr>
        <p:txBody>
          <a:bodyPr/>
          <a:lstStyle/>
          <a:p>
            <a:r>
              <a:rPr lang="ru-RU" sz="2800" dirty="0"/>
              <a:t>Проблема</a:t>
            </a:r>
            <a:r>
              <a:rPr lang="ru-RU" sz="36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27363703"/>
      </p:ext>
    </p:extLst>
  </p:cSld>
  <p:clrMapOvr>
    <a:masterClrMapping/>
  </p:clrMapOvr>
  <p:transition spd="slow"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91841"/>
            <a:ext cx="11252138" cy="166199"/>
          </a:xfrm>
        </p:spPr>
        <p:txBody>
          <a:bodyPr/>
          <a:lstStyle/>
          <a:p>
            <a:r>
              <a:rPr lang="ru-RU" sz="1200" b="0" spc="0" dirty="0"/>
              <a:t>По срокам, по стоимости, по технологиям, по безопасности, по географии и т.д. Изначальные ограничения должны быть учтены в плане действий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800" dirty="0" smtClean="0"/>
              <a:t>Бюджетное </a:t>
            </a:r>
            <a:r>
              <a:rPr lang="ru-RU" sz="1800" dirty="0" smtClean="0"/>
              <a:t>правило</a:t>
            </a:r>
            <a:r>
              <a:rPr lang="ru-RU" sz="1800" dirty="0"/>
              <a:t>: </a:t>
            </a:r>
            <a:r>
              <a:rPr lang="ru-RU" sz="1800" dirty="0" err="1"/>
              <a:t>органичения</a:t>
            </a:r>
            <a:r>
              <a:rPr lang="ru-RU" sz="1800" dirty="0"/>
              <a:t> местных административных единиц при предыдущем составлении городского бюджета.</a:t>
            </a:r>
            <a:endParaRPr lang="ru-RU" sz="1800" dirty="0" smtClean="0"/>
          </a:p>
          <a:p>
            <a:r>
              <a:rPr lang="ru-RU" sz="1800" dirty="0" smtClean="0"/>
              <a:t>Финансовые планы промышленных предприятий</a:t>
            </a:r>
          </a:p>
          <a:p>
            <a:r>
              <a:rPr lang="ru-RU" sz="1800" dirty="0" smtClean="0"/>
              <a:t>Направления работы волонтерских движений</a:t>
            </a:r>
          </a:p>
          <a:p>
            <a:r>
              <a:rPr lang="ru-RU" sz="1800" dirty="0" smtClean="0"/>
              <a:t>Утвержденные планы на социальное развитие городской среды</a:t>
            </a:r>
          </a:p>
          <a:p>
            <a:r>
              <a:rPr lang="ru-RU" sz="1800" dirty="0" smtClean="0"/>
              <a:t>Сроки участия в федеральных программах финансирования развития городской среды</a:t>
            </a:r>
          </a:p>
          <a:p>
            <a:r>
              <a:rPr lang="ru-RU" sz="1800" dirty="0" smtClean="0"/>
              <a:t>Стоимость закупки зеленых насаждений у сторонних питомников</a:t>
            </a:r>
          </a:p>
          <a:p>
            <a:r>
              <a:rPr lang="ru-RU" sz="1800" dirty="0" smtClean="0"/>
              <a:t>Принадлежность земельных участков</a:t>
            </a:r>
          </a:p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44135"/>
            <a:ext cx="11252138" cy="83099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2800" dirty="0"/>
              <a:t>Ограничения</a:t>
            </a:r>
            <a:r>
              <a:rPr lang="ru-RU" sz="3600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915881893"/>
      </p:ext>
    </p:extLst>
  </p:cSld>
  <p:clrMapOvr>
    <a:masterClrMapping/>
  </p:clrMapOvr>
  <p:transition spd="slow">
    <p:wipe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817974"/>
            <a:ext cx="11252138" cy="332399"/>
          </a:xfrm>
        </p:spPr>
        <p:txBody>
          <a:bodyPr/>
          <a:lstStyle/>
          <a:p>
            <a:r>
              <a:rPr lang="ru-RU" sz="1200" b="0" kern="1200" spc="0" dirty="0">
                <a:solidFill>
                  <a:schemeClr val="dk1"/>
                </a:solidFill>
              </a:rPr>
              <a:t>Какой рынок создает, развивает реализация проекта? Какой эффект даст реализация проекта вне системы заявителя, а не внутри нее? </a:t>
            </a:r>
            <a:br>
              <a:rPr lang="ru-RU" sz="1200" b="0" kern="1200" spc="0" dirty="0">
                <a:solidFill>
                  <a:schemeClr val="dk1"/>
                </a:solidFill>
              </a:rPr>
            </a:br>
            <a:r>
              <a:rPr lang="ru-RU" sz="1200" b="0" spc="0" dirty="0"/>
              <a:t>Изменение поведения людей или функционирования объектов и систем, к которому приводит использование результата проекта?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800" dirty="0" smtClean="0"/>
              <a:t>Создание/увеличение новых территорий роста в черте города. </a:t>
            </a:r>
          </a:p>
          <a:p>
            <a:r>
              <a:rPr lang="ru-RU" sz="1800" dirty="0" smtClean="0"/>
              <a:t>Изменение поведенческого стиля жителей внутри городской территории после реализации проекта – окружающая среда стала менее загрязненной</a:t>
            </a:r>
          </a:p>
          <a:p>
            <a:r>
              <a:rPr lang="ru-RU" sz="1800" dirty="0" smtClean="0"/>
              <a:t>Увеличение площадок совместного досуга, отдыха, рекреации</a:t>
            </a:r>
          </a:p>
          <a:p>
            <a:r>
              <a:rPr lang="ru-RU" sz="1800" dirty="0" smtClean="0"/>
              <a:t>Увеличение привлекательности городских территорий после реализации проекта за счет улучшения окружающей </a:t>
            </a:r>
            <a:r>
              <a:rPr lang="ru-RU" sz="1800" dirty="0"/>
              <a:t>среды. Увеличение стоимости недвижимости</a:t>
            </a:r>
          </a:p>
          <a:p>
            <a:r>
              <a:rPr lang="ru-RU" sz="1800" dirty="0" smtClean="0"/>
              <a:t>Развитие направлений бизнеса (питомники зеленых насаждений)</a:t>
            </a:r>
          </a:p>
          <a:p>
            <a:r>
              <a:rPr lang="ru-RU" sz="1800" dirty="0" smtClean="0"/>
              <a:t>Рекультивация земель (питомники)</a:t>
            </a:r>
          </a:p>
          <a:p>
            <a:r>
              <a:rPr lang="ru-RU" sz="1800" dirty="0" smtClean="0"/>
              <a:t>Снижение </a:t>
            </a:r>
            <a:r>
              <a:rPr lang="ru-RU" sz="1800" dirty="0" smtClean="0"/>
              <a:t>трафика </a:t>
            </a:r>
            <a:r>
              <a:rPr lang="ru-RU" sz="1800" dirty="0" smtClean="0"/>
              <a:t>автотранспорта</a:t>
            </a:r>
          </a:p>
          <a:p>
            <a:r>
              <a:rPr lang="ru-RU" sz="1800" dirty="0" smtClean="0"/>
              <a:t>Улучшение инвестиционной привлекательности </a:t>
            </a:r>
          </a:p>
          <a:p>
            <a:endParaRPr lang="ru-RU" sz="1800" dirty="0" smtClean="0"/>
          </a:p>
          <a:p>
            <a:endParaRPr lang="ru-RU" sz="1800" dirty="0" smtClean="0"/>
          </a:p>
          <a:p>
            <a:endParaRPr lang="ru-RU" sz="1800" dirty="0" smtClean="0"/>
          </a:p>
          <a:p>
            <a:endParaRPr lang="ru-RU" sz="1800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88735"/>
            <a:ext cx="11252138" cy="646331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2800" dirty="0"/>
              <a:t>Системные Эффекты от реализации проекта   </a:t>
            </a:r>
          </a:p>
        </p:txBody>
      </p:sp>
    </p:spTree>
    <p:extLst>
      <p:ext uri="{BB962C8B-B14F-4D97-AF65-F5344CB8AC3E}">
        <p14:creationId xmlns:p14="http://schemas.microsoft.com/office/powerpoint/2010/main" val="3442567985"/>
      </p:ext>
    </p:extLst>
  </p:cSld>
  <p:clrMapOvr>
    <a:masterClrMapping/>
  </p:clrMapOvr>
  <p:transition spd="slow">
    <p:wipe dir="r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6CC7D6CA-6F82-42B2-B503-E0C48863E1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3421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1905" name="Слайд think-cell" r:id="rId5" imgW="425" imgH="424" progId="TCLayout.ActiveDocument.1">
                  <p:embed/>
                </p:oleObj>
              </mc:Choice>
              <mc:Fallback>
                <p:oleObj name="Слайд think-cell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AAC36D6-C717-4694-AE9A-D9487E827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316738"/>
            <a:ext cx="11252138" cy="775597"/>
          </a:xfrm>
        </p:spPr>
        <p:txBody>
          <a:bodyPr/>
          <a:lstStyle/>
          <a:p>
            <a:pPr algn="ctr"/>
            <a:r>
              <a:rPr lang="ru-RU" sz="2800" dirty="0">
                <a:latin typeface="Trebuchet MS" panose="020B0603020202020204" pitchFamily="34" charset="0"/>
                <a:sym typeface="Trebuchet MS" panose="020B0603020202020204" pitchFamily="34" charset="0"/>
              </a:rPr>
              <a:t>Дополнительные элементы (прикрепляются отдельными документами на платформу)</a:t>
            </a:r>
          </a:p>
        </p:txBody>
      </p:sp>
      <p:sp>
        <p:nvSpPr>
          <p:cNvPr id="9" name="TextBox 8">
            <a:hlinkClick r:id="" action="ppaction://noaction"/>
            <a:extLst>
              <a:ext uri="{FF2B5EF4-FFF2-40B4-BE49-F238E27FC236}">
                <a16:creationId xmlns:a16="http://schemas.microsoft.com/office/drawing/2014/main" xmlns="" id="{86C8FF8A-450A-46FA-8F2B-D610B536DC0D}"/>
              </a:ext>
            </a:extLst>
          </p:cNvPr>
          <p:cNvSpPr txBox="1">
            <a:spLocks/>
          </p:cNvSpPr>
          <p:nvPr/>
        </p:nvSpPr>
        <p:spPr>
          <a:xfrm>
            <a:off x="1125472" y="1723851"/>
            <a:ext cx="7009125" cy="40580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400" dirty="0"/>
              <a:t>Иерархическая структура работ проекта </a:t>
            </a:r>
            <a:endParaRPr lang="ru-RU" sz="13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TextBox 9">
            <a:hlinkClick r:id="" action="ppaction://noaction"/>
            <a:extLst>
              <a:ext uri="{FF2B5EF4-FFF2-40B4-BE49-F238E27FC236}">
                <a16:creationId xmlns:a16="http://schemas.microsoft.com/office/drawing/2014/main" xmlns="" id="{8ABFCE4B-397E-4EA3-BA3C-F4517E13C665}"/>
              </a:ext>
            </a:extLst>
          </p:cNvPr>
          <p:cNvSpPr txBox="1">
            <a:spLocks/>
          </p:cNvSpPr>
          <p:nvPr/>
        </p:nvSpPr>
        <p:spPr>
          <a:xfrm>
            <a:off x="1125472" y="2692169"/>
            <a:ext cx="6914123" cy="40580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400" dirty="0"/>
              <a:t>Предварительная стоимостная оценка выполнения работ по проекту</a:t>
            </a:r>
            <a:endParaRPr lang="ru-RU" sz="13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1" name="TextBox 10">
            <a:hlinkClick r:id="" action="ppaction://noaction"/>
            <a:extLst>
              <a:ext uri="{FF2B5EF4-FFF2-40B4-BE49-F238E27FC236}">
                <a16:creationId xmlns:a16="http://schemas.microsoft.com/office/drawing/2014/main" xmlns="" id="{386D04C3-B211-45A7-9E45-387BF5855E9B}"/>
              </a:ext>
            </a:extLst>
          </p:cNvPr>
          <p:cNvSpPr txBox="1">
            <a:spLocks/>
          </p:cNvSpPr>
          <p:nvPr/>
        </p:nvSpPr>
        <p:spPr>
          <a:xfrm>
            <a:off x="1125472" y="4144646"/>
            <a:ext cx="10664838" cy="40580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400" dirty="0"/>
              <a:t>Дополнительные элементы (по запросу куратора направления; технические, организационные и иные возможные материалы на усмотрение автора идеи)</a:t>
            </a:r>
            <a:endParaRPr lang="ru-RU" sz="13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TextBox 12">
            <a:hlinkClick r:id="" action="ppaction://noaction"/>
            <a:extLst>
              <a:ext uri="{FF2B5EF4-FFF2-40B4-BE49-F238E27FC236}">
                <a16:creationId xmlns:a16="http://schemas.microsoft.com/office/drawing/2014/main" xmlns="" id="{8066803F-D2F8-4057-8390-94AEED78B2B8}"/>
              </a:ext>
            </a:extLst>
          </p:cNvPr>
          <p:cNvSpPr txBox="1">
            <a:spLocks/>
          </p:cNvSpPr>
          <p:nvPr/>
        </p:nvSpPr>
        <p:spPr>
          <a:xfrm>
            <a:off x="1125472" y="2208010"/>
            <a:ext cx="7614767" cy="40580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400" dirty="0"/>
              <a:t>Календарно-сетевой график</a:t>
            </a:r>
            <a:endParaRPr lang="ru-RU" sz="13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TextBox 13">
            <a:hlinkClick r:id="" action="ppaction://noaction"/>
            <a:extLst>
              <a:ext uri="{FF2B5EF4-FFF2-40B4-BE49-F238E27FC236}">
                <a16:creationId xmlns:a16="http://schemas.microsoft.com/office/drawing/2014/main" xmlns="" id="{5E9E7347-0B22-4A3E-9235-ADB8188FC7D2}"/>
              </a:ext>
            </a:extLst>
          </p:cNvPr>
          <p:cNvSpPr txBox="1">
            <a:spLocks/>
          </p:cNvSpPr>
          <p:nvPr/>
        </p:nvSpPr>
        <p:spPr>
          <a:xfrm>
            <a:off x="1125471" y="3176328"/>
            <a:ext cx="10595041" cy="40580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400" dirty="0"/>
              <a:t>Матрица рисков: Ключевые риски, оценка их вероятности и влияния на достижение целей, предлагаемые меры по управлению рисками</a:t>
            </a:r>
            <a:endParaRPr lang="ru-RU" sz="13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TextBox 15">
            <a:hlinkClick r:id="" action="ppaction://noaction"/>
            <a:extLst>
              <a:ext uri="{FF2B5EF4-FFF2-40B4-BE49-F238E27FC236}">
                <a16:creationId xmlns:a16="http://schemas.microsoft.com/office/drawing/2014/main" xmlns="" id="{33678408-818E-425B-B831-6BF9E87B4B8C}"/>
              </a:ext>
            </a:extLst>
          </p:cNvPr>
          <p:cNvSpPr txBox="1">
            <a:spLocks/>
          </p:cNvSpPr>
          <p:nvPr/>
        </p:nvSpPr>
        <p:spPr>
          <a:xfrm>
            <a:off x="1125472" y="3660487"/>
            <a:ext cx="7927694" cy="40580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400" dirty="0"/>
              <a:t>Презентация проекта (по запросу куратора направления)</a:t>
            </a:r>
            <a:endParaRPr lang="ru-RU" sz="130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xmlns="" id="{76EBDE95-1B0F-4F66-9D9C-21AA947D816B}"/>
              </a:ext>
            </a:extLst>
          </p:cNvPr>
          <p:cNvCxnSpPr>
            <a:cxnSpLocks/>
          </p:cNvCxnSpPr>
          <p:nvPr/>
        </p:nvCxnSpPr>
        <p:spPr>
          <a:xfrm flipV="1">
            <a:off x="1125473" y="2168834"/>
            <a:ext cx="6433567" cy="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xmlns="" id="{FB8E4E3F-3839-4A46-AFAA-639404E9A220}"/>
              </a:ext>
            </a:extLst>
          </p:cNvPr>
          <p:cNvCxnSpPr>
            <a:cxnSpLocks/>
          </p:cNvCxnSpPr>
          <p:nvPr/>
        </p:nvCxnSpPr>
        <p:spPr>
          <a:xfrm>
            <a:off x="1125473" y="2652993"/>
            <a:ext cx="5834127" cy="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xmlns="" id="{23DFF52A-1ABF-444E-AE2C-93B6B04FC1F7}"/>
              </a:ext>
            </a:extLst>
          </p:cNvPr>
          <p:cNvCxnSpPr>
            <a:cxnSpLocks/>
          </p:cNvCxnSpPr>
          <p:nvPr/>
        </p:nvCxnSpPr>
        <p:spPr>
          <a:xfrm>
            <a:off x="1125473" y="3137152"/>
            <a:ext cx="58341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xmlns="" id="{DE700460-21CD-44CA-A087-48D94D72AA23}"/>
              </a:ext>
            </a:extLst>
          </p:cNvPr>
          <p:cNvCxnSpPr/>
          <p:nvPr/>
        </p:nvCxnSpPr>
        <p:spPr>
          <a:xfrm>
            <a:off x="1125473" y="3621311"/>
            <a:ext cx="455179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xmlns="" id="{E4A1703F-573F-45BF-97AB-CDC07F707EEB}"/>
              </a:ext>
            </a:extLst>
          </p:cNvPr>
          <p:cNvCxnSpPr/>
          <p:nvPr/>
        </p:nvCxnSpPr>
        <p:spPr>
          <a:xfrm>
            <a:off x="1125473" y="4105470"/>
            <a:ext cx="455179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xmlns="" id="{C8AC3B46-7FF5-464B-9098-5FD9655883B1}"/>
              </a:ext>
            </a:extLst>
          </p:cNvPr>
          <p:cNvCxnSpPr/>
          <p:nvPr/>
        </p:nvCxnSpPr>
        <p:spPr>
          <a:xfrm>
            <a:off x="1125473" y="4589629"/>
            <a:ext cx="455179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xmlns="" id="{C25E1ED0-0AE2-4312-8818-FC3A583AE619}"/>
              </a:ext>
            </a:extLst>
          </p:cNvPr>
          <p:cNvCxnSpPr/>
          <p:nvPr/>
        </p:nvCxnSpPr>
        <p:spPr>
          <a:xfrm>
            <a:off x="1125473" y="5073788"/>
            <a:ext cx="4551793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ятиугольник 43">
            <a:extLst>
              <a:ext uri="{FF2B5EF4-FFF2-40B4-BE49-F238E27FC236}">
                <a16:creationId xmlns:a16="http://schemas.microsoft.com/office/drawing/2014/main" xmlns="" id="{47090953-1AA8-4AB8-8B40-6FE96F5EC77F}"/>
              </a:ext>
            </a:extLst>
          </p:cNvPr>
          <p:cNvSpPr>
            <a:spLocks/>
          </p:cNvSpPr>
          <p:nvPr/>
        </p:nvSpPr>
        <p:spPr>
          <a:xfrm>
            <a:off x="468375" y="1723851"/>
            <a:ext cx="571428" cy="405807"/>
          </a:xfrm>
          <a:prstGeom prst="homePlate">
            <a:avLst>
              <a:gd name="adj" fmla="val 216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300" b="1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1</a:t>
            </a:r>
          </a:p>
        </p:txBody>
      </p:sp>
      <p:sp>
        <p:nvSpPr>
          <p:cNvPr id="27" name="Пятиугольник 123">
            <a:extLst>
              <a:ext uri="{FF2B5EF4-FFF2-40B4-BE49-F238E27FC236}">
                <a16:creationId xmlns:a16="http://schemas.microsoft.com/office/drawing/2014/main" xmlns="" id="{ADB821FE-5622-4E5E-9A59-E7022978F70B}"/>
              </a:ext>
            </a:extLst>
          </p:cNvPr>
          <p:cNvSpPr>
            <a:spLocks/>
          </p:cNvSpPr>
          <p:nvPr/>
        </p:nvSpPr>
        <p:spPr>
          <a:xfrm>
            <a:off x="468375" y="2208011"/>
            <a:ext cx="571428" cy="405807"/>
          </a:xfrm>
          <a:prstGeom prst="homePlate">
            <a:avLst>
              <a:gd name="adj" fmla="val 216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300" b="1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2</a:t>
            </a:r>
          </a:p>
        </p:txBody>
      </p:sp>
      <p:sp>
        <p:nvSpPr>
          <p:cNvPr id="28" name="Пятиугольник 124">
            <a:extLst>
              <a:ext uri="{FF2B5EF4-FFF2-40B4-BE49-F238E27FC236}">
                <a16:creationId xmlns:a16="http://schemas.microsoft.com/office/drawing/2014/main" xmlns="" id="{D825647A-63E4-4063-98D8-05F6724D2CA8}"/>
              </a:ext>
            </a:extLst>
          </p:cNvPr>
          <p:cNvSpPr>
            <a:spLocks/>
          </p:cNvSpPr>
          <p:nvPr/>
        </p:nvSpPr>
        <p:spPr>
          <a:xfrm>
            <a:off x="468375" y="2692171"/>
            <a:ext cx="571428" cy="405807"/>
          </a:xfrm>
          <a:prstGeom prst="homePlate">
            <a:avLst>
              <a:gd name="adj" fmla="val 216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300" b="1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3</a:t>
            </a:r>
          </a:p>
        </p:txBody>
      </p:sp>
      <p:sp>
        <p:nvSpPr>
          <p:cNvPr id="29" name="Пятиугольник 125">
            <a:extLst>
              <a:ext uri="{FF2B5EF4-FFF2-40B4-BE49-F238E27FC236}">
                <a16:creationId xmlns:a16="http://schemas.microsoft.com/office/drawing/2014/main" xmlns="" id="{E7ADF8E0-58F8-4748-90F8-63E5FC9954BC}"/>
              </a:ext>
            </a:extLst>
          </p:cNvPr>
          <p:cNvSpPr>
            <a:spLocks/>
          </p:cNvSpPr>
          <p:nvPr/>
        </p:nvSpPr>
        <p:spPr>
          <a:xfrm>
            <a:off x="468375" y="3176331"/>
            <a:ext cx="571428" cy="405807"/>
          </a:xfrm>
          <a:prstGeom prst="homePlate">
            <a:avLst>
              <a:gd name="adj" fmla="val 216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300" b="1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4</a:t>
            </a:r>
          </a:p>
        </p:txBody>
      </p:sp>
      <p:sp>
        <p:nvSpPr>
          <p:cNvPr id="30" name="Пятиугольник 126">
            <a:extLst>
              <a:ext uri="{FF2B5EF4-FFF2-40B4-BE49-F238E27FC236}">
                <a16:creationId xmlns:a16="http://schemas.microsoft.com/office/drawing/2014/main" xmlns="" id="{459D2D46-DD09-4BD4-9763-ABAA5CCE51D3}"/>
              </a:ext>
            </a:extLst>
          </p:cNvPr>
          <p:cNvSpPr>
            <a:spLocks/>
          </p:cNvSpPr>
          <p:nvPr/>
        </p:nvSpPr>
        <p:spPr>
          <a:xfrm>
            <a:off x="468375" y="3660491"/>
            <a:ext cx="571428" cy="405807"/>
          </a:xfrm>
          <a:prstGeom prst="homePlate">
            <a:avLst>
              <a:gd name="adj" fmla="val 216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300" b="1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5</a:t>
            </a:r>
          </a:p>
        </p:txBody>
      </p:sp>
      <p:sp>
        <p:nvSpPr>
          <p:cNvPr id="31" name="Пятиугольник 127">
            <a:extLst>
              <a:ext uri="{FF2B5EF4-FFF2-40B4-BE49-F238E27FC236}">
                <a16:creationId xmlns:a16="http://schemas.microsoft.com/office/drawing/2014/main" xmlns="" id="{884359F5-5AA2-40EA-86B7-D3E9048CF9DA}"/>
              </a:ext>
            </a:extLst>
          </p:cNvPr>
          <p:cNvSpPr>
            <a:spLocks/>
          </p:cNvSpPr>
          <p:nvPr/>
        </p:nvSpPr>
        <p:spPr>
          <a:xfrm>
            <a:off x="468375" y="4144651"/>
            <a:ext cx="571428" cy="405807"/>
          </a:xfrm>
          <a:prstGeom prst="homePlate">
            <a:avLst>
              <a:gd name="adj" fmla="val 2163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300" b="1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06</a:t>
            </a:r>
          </a:p>
        </p:txBody>
      </p: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xmlns="" id="{3388BFD4-2683-49CC-8A1F-18AD0B33B9D1}"/>
              </a:ext>
            </a:extLst>
          </p:cNvPr>
          <p:cNvCxnSpPr/>
          <p:nvPr/>
        </p:nvCxnSpPr>
        <p:spPr>
          <a:xfrm>
            <a:off x="6778440" y="2168835"/>
            <a:ext cx="485476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xmlns="" id="{7F905792-3C33-4DE7-A829-EC73C9797B3B}"/>
              </a:ext>
            </a:extLst>
          </p:cNvPr>
          <p:cNvCxnSpPr/>
          <p:nvPr/>
        </p:nvCxnSpPr>
        <p:spPr>
          <a:xfrm>
            <a:off x="6778440" y="2652996"/>
            <a:ext cx="485476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229326"/>
      </p:ext>
    </p:extLst>
  </p:cSld>
  <p:clrMapOvr>
    <a:masterClrMapping/>
  </p:clrMapOvr>
  <p:transition spd="slow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/>
          <a:lstStyle/>
          <a:p>
            <a:r>
              <a:rPr lang="ru-RU" sz="1200" b="0" spc="0" dirty="0"/>
              <a:t>Каковы целевые эффекты от реализации? Какие показатели изменятся, в какой мере?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279070"/>
            <a:ext cx="11252200" cy="5187044"/>
          </a:xfrm>
        </p:spPr>
        <p:txBody>
          <a:bodyPr/>
          <a:lstStyle/>
          <a:p>
            <a:r>
              <a:rPr lang="ru-RU" sz="1800" dirty="0"/>
              <a:t>Снижение уровня воздействия факторов загрязнения воздуха и последующим развитием городских территорий на границах санитарных зон предприятий промышленности, вдоль магистральных городских </a:t>
            </a:r>
            <a:r>
              <a:rPr lang="ru-RU" sz="1800" dirty="0" smtClean="0"/>
              <a:t>дорог:</a:t>
            </a:r>
            <a:endParaRPr lang="ru-RU" sz="1800" dirty="0"/>
          </a:p>
          <a:p>
            <a:pPr marL="0" indent="0">
              <a:buNone/>
            </a:pPr>
            <a:r>
              <a:rPr lang="ru-RU" sz="1800" dirty="0" smtClean="0"/>
              <a:t>1. Создание двух городских территорий со сниженным уровнем загрязнения воздуха на </a:t>
            </a:r>
            <a:r>
              <a:rPr lang="ru-RU" sz="1800" dirty="0"/>
              <a:t>границах санитарных зон предприятий </a:t>
            </a:r>
            <a:r>
              <a:rPr lang="ru-RU" sz="1800" dirty="0" smtClean="0"/>
              <a:t>промышленности и </a:t>
            </a:r>
            <a:r>
              <a:rPr lang="ru-RU" sz="1800" dirty="0"/>
              <a:t>вдоль магистральных городских </a:t>
            </a:r>
            <a:r>
              <a:rPr lang="ru-RU" sz="1800" dirty="0" smtClean="0"/>
              <a:t>дорог до конца 2021 года. </a:t>
            </a:r>
          </a:p>
          <a:p>
            <a:pPr marL="0" indent="0">
              <a:buNone/>
            </a:pPr>
            <a:r>
              <a:rPr lang="ru-RU" sz="1800" dirty="0" smtClean="0"/>
              <a:t>2. Создание </a:t>
            </a:r>
            <a:r>
              <a:rPr lang="ru-RU" sz="1800" dirty="0"/>
              <a:t>стандартов для газонов, кустарников, деревьев в качестве защитных полос зеленых насаждений и отдельных элементов </a:t>
            </a:r>
            <a:r>
              <a:rPr lang="ru-RU" sz="1800" dirty="0" smtClean="0"/>
              <a:t>озеленения.</a:t>
            </a:r>
          </a:p>
          <a:p>
            <a:pPr marL="0" indent="0">
              <a:buNone/>
            </a:pPr>
            <a:r>
              <a:rPr lang="ru-RU" sz="1800" dirty="0" smtClean="0"/>
              <a:t>3. По завершению проекта обеспечить наличие комплексного </a:t>
            </a:r>
            <a:r>
              <a:rPr lang="ru-RU" sz="1800" dirty="0"/>
              <a:t>решения по созданию стандартов для газонов, кустарников, деревьев в качестве защитных полос зеленых насаждений и отдельных элементов </a:t>
            </a:r>
            <a:r>
              <a:rPr lang="ru-RU" sz="1800" dirty="0" smtClean="0"/>
              <a:t>озеленения для последующего тиражирования.</a:t>
            </a:r>
          </a:p>
          <a:p>
            <a:endParaRPr lang="ru-RU" sz="1800" dirty="0" smtClean="0"/>
          </a:p>
          <a:p>
            <a:endParaRPr lang="ru-RU" sz="1800" dirty="0" smtClean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427538"/>
            <a:ext cx="11252138" cy="387798"/>
          </a:xfrm>
        </p:spPr>
        <p:txBody>
          <a:bodyPr/>
          <a:lstStyle/>
          <a:p>
            <a:r>
              <a:rPr lang="ru-RU" sz="2800" dirty="0"/>
              <a:t>Цель проекта </a:t>
            </a:r>
          </a:p>
        </p:txBody>
      </p:sp>
    </p:spTree>
    <p:extLst>
      <p:ext uri="{BB962C8B-B14F-4D97-AF65-F5344CB8AC3E}">
        <p14:creationId xmlns:p14="http://schemas.microsoft.com/office/powerpoint/2010/main" val="2504296463"/>
      </p:ext>
    </p:extLst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/>
          <a:lstStyle/>
          <a:p>
            <a:r>
              <a:rPr lang="ru-RU" sz="1200" b="0" spc="0" dirty="0"/>
              <a:t>Краткое описание предлагаемого решения. 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213756"/>
            <a:ext cx="11252200" cy="5252357"/>
          </a:xfrm>
        </p:spPr>
        <p:txBody>
          <a:bodyPr/>
          <a:lstStyle/>
          <a:p>
            <a:r>
              <a:rPr lang="ru-RU" sz="1800" dirty="0"/>
              <a:t>Создание защитных многоступенчатых зон зеленых насаждений:</a:t>
            </a:r>
          </a:p>
          <a:p>
            <a:pPr marL="0" indent="0">
              <a:buNone/>
            </a:pPr>
            <a:r>
              <a:rPr lang="ru-RU" sz="1400" dirty="0"/>
              <a:t>Ступень 1 - Газон – как наиболее эффективный способ отсутствия открытого грунта, фильтр для сточных вод, улавливание оседающей пыли из воздуха. Не требующие ухода еженедельно и ежемесячно, кроме полива в продолжительную жаркую и сухую погоду.</a:t>
            </a:r>
          </a:p>
          <a:p>
            <a:pPr marL="0" indent="0">
              <a:buNone/>
            </a:pPr>
            <a:r>
              <a:rPr lang="ru-RU" sz="1400" dirty="0"/>
              <a:t>Ступень 2 – живые изгороди и кустарники как уловители пыли на высоте до 1,5 метров, укрепление грунта (в том числе на наклонных поверхностях), легко переносящие формовую обрезку. </a:t>
            </a:r>
          </a:p>
          <a:p>
            <a:pPr marL="0" indent="0">
              <a:buNone/>
            </a:pPr>
            <a:r>
              <a:rPr lang="ru-RU" sz="1400" dirty="0"/>
              <a:t>Ступень 3 – крупномерные деревья (от 5 метров), прошедшие период первоначального роста. Видовой состав определен с учетом уровня воздействия вредных веществ на городскую атмосферу и повышенным отдачей кислорода. Фильтрация воздуха на высоте до 10 метров. </a:t>
            </a:r>
          </a:p>
          <a:p>
            <a:r>
              <a:rPr lang="ru-RU" sz="1800" dirty="0"/>
              <a:t>Многоступенчатая защитная полоса в двухрядном исполнении на 22% снижает загрязненность воздуха (пыль, мелкодисперсионные частицы, химические элементы), на 42% меньше пыли внутри </a:t>
            </a:r>
            <a:r>
              <a:rPr lang="ru-RU" sz="1800" dirty="0" smtClean="0"/>
              <a:t>пространств.</a:t>
            </a:r>
          </a:p>
          <a:p>
            <a:r>
              <a:rPr lang="ru-RU" sz="1800" dirty="0" smtClean="0"/>
              <a:t>За счет </a:t>
            </a:r>
            <a:r>
              <a:rPr lang="ru-RU" sz="1800" dirty="0"/>
              <a:t>создания </a:t>
            </a:r>
            <a:r>
              <a:rPr lang="ru-RU" sz="1800" dirty="0" smtClean="0"/>
              <a:t>многоступенчатых зон </a:t>
            </a:r>
            <a:r>
              <a:rPr lang="ru-RU" sz="1800" dirty="0"/>
              <a:t>зеленых </a:t>
            </a:r>
            <a:r>
              <a:rPr lang="ru-RU" sz="1800" dirty="0" smtClean="0"/>
              <a:t>насаждений – развитие городских территорий со статусом «сниженного воздействия загрязнения атмосферы». Прогноз – 10% городских территорий прилегающих к санитарным зонам промышленных предприятий и расположенных вдоль магистральных городских дорог за 5 лет в городе Красноярск.</a:t>
            </a:r>
          </a:p>
          <a:p>
            <a:r>
              <a:rPr lang="ru-RU" sz="1800" dirty="0" smtClean="0"/>
              <a:t>За счет создания стандартов озеленения – качественное обновление зеленых насаждений в Красноярске:</a:t>
            </a:r>
          </a:p>
          <a:p>
            <a:pPr marL="0" indent="0">
              <a:buNone/>
            </a:pPr>
            <a:r>
              <a:rPr lang="ru-RU" sz="1800" dirty="0" smtClean="0"/>
              <a:t>Газоны – 5% в год;</a:t>
            </a:r>
          </a:p>
          <a:p>
            <a:pPr marL="0" indent="0">
              <a:buNone/>
            </a:pPr>
            <a:r>
              <a:rPr lang="ru-RU" sz="1800" dirty="0" smtClean="0"/>
              <a:t>Живые изгороди – 10% (обновление)в год</a:t>
            </a:r>
            <a:r>
              <a:rPr lang="ru-RU" sz="1800" dirty="0"/>
              <a:t>, создание новых </a:t>
            </a:r>
            <a:r>
              <a:rPr lang="ru-RU" sz="1800" dirty="0" smtClean="0"/>
              <a:t>- 10</a:t>
            </a:r>
            <a:r>
              <a:rPr lang="ru-RU" sz="1800" dirty="0"/>
              <a:t>% </a:t>
            </a:r>
            <a:r>
              <a:rPr lang="ru-RU" sz="1800" dirty="0" smtClean="0"/>
              <a:t>в год;</a:t>
            </a:r>
          </a:p>
          <a:p>
            <a:pPr marL="0" indent="0">
              <a:buNone/>
            </a:pPr>
            <a:endParaRPr lang="ru-RU" sz="1400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387798"/>
          </a:xfrm>
        </p:spPr>
        <p:txBody>
          <a:bodyPr/>
          <a:lstStyle/>
          <a:p>
            <a:r>
              <a:rPr lang="ru-RU" sz="2800" dirty="0"/>
              <a:t>Суть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216534041"/>
      </p:ext>
    </p:extLst>
  </p:cSld>
  <p:clrMapOvr>
    <a:masterClrMapping/>
  </p:clrMapOvr>
  <p:transition spd="slow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1149779"/>
            <a:ext cx="11252138" cy="332399"/>
          </a:xfrm>
        </p:spPr>
        <p:txBody>
          <a:bodyPr/>
          <a:lstStyle/>
          <a:p>
            <a:r>
              <a:rPr lang="ru-RU" sz="1200" b="0" kern="1200" spc="0" dirty="0">
                <a:solidFill>
                  <a:schemeClr val="dk1"/>
                </a:solidFill>
              </a:rPr>
              <a:t>На какие сегменты населения\рынка ориентирован проект и его продукт? Укажите размер целевой аудитории – текущий и в перспективе</a:t>
            </a:r>
            <a:br>
              <a:rPr lang="ru-RU" sz="1200" b="0" kern="1200" spc="0" dirty="0">
                <a:solidFill>
                  <a:schemeClr val="dk1"/>
                </a:solidFill>
              </a:rPr>
            </a:br>
            <a:endParaRPr lang="ru-RU" sz="1200" b="0" kern="1200" spc="0" dirty="0">
              <a:solidFill>
                <a:schemeClr val="dk1"/>
              </a:solidFill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562099"/>
            <a:ext cx="11252200" cy="5110843"/>
          </a:xfrm>
        </p:spPr>
        <p:txBody>
          <a:bodyPr/>
          <a:lstStyle/>
          <a:p>
            <a:r>
              <a:rPr lang="ru-RU" sz="1800" dirty="0" smtClean="0"/>
              <a:t>Целевая аудитория на примере города Красноярска:</a:t>
            </a:r>
          </a:p>
          <a:p>
            <a:pPr marL="0" indent="0">
              <a:buNone/>
            </a:pPr>
            <a:r>
              <a:rPr lang="ru-RU" sz="1400" dirty="0" smtClean="0"/>
              <a:t>Жители проживающие на расстоянии до 1 км от границ санитарных зон промышленных предприятий – 150 000 человек.</a:t>
            </a:r>
          </a:p>
          <a:p>
            <a:pPr marL="0" indent="0">
              <a:buNone/>
            </a:pPr>
            <a:r>
              <a:rPr lang="ru-RU" sz="1400" dirty="0" smtClean="0"/>
              <a:t>Жители проживающие вдоль магистральных городских автодорог – 250 000 человек.</a:t>
            </a:r>
          </a:p>
          <a:p>
            <a:pPr marL="0" indent="0">
              <a:buNone/>
            </a:pPr>
            <a:r>
              <a:rPr lang="ru-RU" sz="1400" dirty="0" smtClean="0"/>
              <a:t> Коммерческие </a:t>
            </a:r>
            <a:r>
              <a:rPr lang="ru-RU" sz="1400" dirty="0" smtClean="0"/>
              <a:t>организации имеющие объекты недвижимости и земельные участки до 1 км от границ санитарных зон и возле магистральных городских автодорог – 2 000 юридических лиц.</a:t>
            </a:r>
          </a:p>
          <a:p>
            <a:r>
              <a:rPr lang="ru-RU" sz="1800" dirty="0" smtClean="0"/>
              <a:t>Измерение текущего состояния:</a:t>
            </a:r>
          </a:p>
          <a:p>
            <a:pPr marL="0" indent="0">
              <a:buNone/>
            </a:pPr>
            <a:r>
              <a:rPr lang="ru-RU" sz="1400" dirty="0" smtClean="0"/>
              <a:t> Стоимость </a:t>
            </a:r>
            <a:r>
              <a:rPr lang="ru-RU" sz="1400" dirty="0" smtClean="0"/>
              <a:t>недвижимости в городских районах прилегающих к санитарным зонам промышленных предприятий («Зеленая Роща» в Советском районе, Ленинский район за исключением новостроек, Свердловский район за исключением новостроек) на 15-18% ниже, чем стоимость аналогичного жилья со сходными характеристиками даже внутри районов на расстоянии до 1,5 км.</a:t>
            </a:r>
          </a:p>
          <a:p>
            <a:pPr marL="0" indent="0">
              <a:buNone/>
            </a:pPr>
            <a:r>
              <a:rPr lang="ru-RU" sz="1400" dirty="0" smtClean="0"/>
              <a:t> Наличие </a:t>
            </a:r>
            <a:r>
              <a:rPr lang="ru-RU" sz="1400" dirty="0" smtClean="0"/>
              <a:t>зон отдыха и рекреации в местах прохождения магистральных городских дорог в районах появившихся после распада СССР в три раза меньше, чем в застройке более раннего времени. Жители добираются до мест отдыха, в том числе выгула домашних животных, на автотранспорте тем самым увеличивая нагрузку на дорожную сеть города и объем выбросов. </a:t>
            </a:r>
          </a:p>
          <a:p>
            <a:pPr marL="0" indent="0">
              <a:buNone/>
            </a:pPr>
            <a:r>
              <a:rPr lang="ru-RU" sz="1400" dirty="0" smtClean="0"/>
              <a:t> Отток </a:t>
            </a:r>
            <a:r>
              <a:rPr lang="ru-RU" sz="1400" dirty="0" smtClean="0"/>
              <a:t>населения из Красноярска </a:t>
            </a:r>
            <a:r>
              <a:rPr lang="ru-RU" sz="1400" dirty="0"/>
              <a:t>по причинам: </a:t>
            </a:r>
            <a:r>
              <a:rPr lang="ru-RU" sz="1400" dirty="0" smtClean="0"/>
              <a:t>экологические </a:t>
            </a:r>
            <a:r>
              <a:rPr lang="ru-RU" sz="1400" dirty="0"/>
              <a:t>проблемы, низкое качество благоустройства, проблемы транспортной инфраструктуры, «агрессивная» застройка, дефицит социальной </a:t>
            </a:r>
            <a:r>
              <a:rPr lang="ru-RU" sz="1400" dirty="0" smtClean="0"/>
              <a:t>инфраструктуры – мнение мэра города, 2018 год.</a:t>
            </a:r>
          </a:p>
          <a:p>
            <a:pPr marL="0" indent="0">
              <a:buNone/>
            </a:pPr>
            <a:endParaRPr lang="ru-RU" sz="1800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60926"/>
            <a:ext cx="11252138" cy="387798"/>
          </a:xfrm>
        </p:spPr>
        <p:txBody>
          <a:bodyPr/>
          <a:lstStyle/>
          <a:p>
            <a:r>
              <a:rPr lang="ru-RU" sz="2800" dirty="0"/>
              <a:t>Анализ рынка, целевая аудитория</a:t>
            </a:r>
          </a:p>
        </p:txBody>
      </p:sp>
    </p:spTree>
    <p:extLst>
      <p:ext uri="{BB962C8B-B14F-4D97-AF65-F5344CB8AC3E}">
        <p14:creationId xmlns:p14="http://schemas.microsoft.com/office/powerpoint/2010/main" val="1691785197"/>
      </p:ext>
    </p:extLst>
  </p:cSld>
  <p:clrMapOvr>
    <a:masterClrMapping/>
  </p:clrMapOvr>
  <p:transition spd="slow">
    <p:wipe dir="r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1149779"/>
            <a:ext cx="11252138" cy="332399"/>
          </a:xfrm>
        </p:spPr>
        <p:txBody>
          <a:bodyPr/>
          <a:lstStyle/>
          <a:p>
            <a:r>
              <a:rPr lang="ru-RU" sz="1200" b="0" kern="1200" spc="0" dirty="0">
                <a:solidFill>
                  <a:schemeClr val="dk1"/>
                </a:solidFill>
              </a:rPr>
              <a:t>На какие сегменты населения\рынка ориентирован проект и его продукт? Укажите размер целевой аудитории – текущий и в перспективе</a:t>
            </a:r>
            <a:br>
              <a:rPr lang="ru-RU" sz="1200" b="0" kern="1200" spc="0" dirty="0">
                <a:solidFill>
                  <a:schemeClr val="dk1"/>
                </a:solidFill>
              </a:rPr>
            </a:br>
            <a:endParaRPr lang="ru-RU" sz="1200" b="0" kern="1200" spc="0" dirty="0">
              <a:solidFill>
                <a:schemeClr val="dk1"/>
              </a:solidFill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562099"/>
            <a:ext cx="11252200" cy="5110843"/>
          </a:xfrm>
        </p:spPr>
        <p:txBody>
          <a:bodyPr/>
          <a:lstStyle/>
          <a:p>
            <a:r>
              <a:rPr lang="ru-RU" sz="1800" dirty="0"/>
              <a:t>Эффекты и результаты:</a:t>
            </a:r>
          </a:p>
          <a:p>
            <a:pPr marL="0" indent="0">
              <a:buNone/>
            </a:pPr>
            <a:r>
              <a:rPr lang="ru-RU" sz="1400" dirty="0" smtClean="0"/>
              <a:t>Улучшение </a:t>
            </a:r>
            <a:r>
              <a:rPr lang="ru-RU" sz="1400" dirty="0"/>
              <a:t>качества воздуха после создания защитных многоступенчатых зеленых зон – изменение поведенческих привычек (пример – прогулки по микрорайону, появление новых площадок). Повышение количества жителей на прогулках (включая вообще появление таких жителей). Снижение расходов по содержанию земельных участков.</a:t>
            </a:r>
          </a:p>
          <a:p>
            <a:pPr marL="0" indent="0">
              <a:buNone/>
            </a:pPr>
            <a:r>
              <a:rPr lang="ru-RU" sz="1400" dirty="0" smtClean="0"/>
              <a:t>Органы </a:t>
            </a:r>
            <a:r>
              <a:rPr lang="ru-RU" sz="1400" dirty="0" smtClean="0"/>
              <a:t>местного самоуправления (ОМСУ) – </a:t>
            </a:r>
            <a:r>
              <a:rPr lang="ru-RU" sz="1400" dirty="0" smtClean="0"/>
              <a:t>увеличение (появление) </a:t>
            </a:r>
            <a:r>
              <a:rPr lang="ru-RU" sz="1400" dirty="0" smtClean="0"/>
              <a:t>запросов </a:t>
            </a:r>
            <a:r>
              <a:rPr lang="ru-RU" sz="1400" dirty="0" smtClean="0"/>
              <a:t>жителей на развитие территории для активности, удовлетворенность вектором развития территорий. </a:t>
            </a:r>
          </a:p>
          <a:p>
            <a:pPr marL="0" indent="0">
              <a:buNone/>
            </a:pPr>
            <a:r>
              <a:rPr lang="ru-RU" sz="1400" dirty="0" smtClean="0"/>
              <a:t>Повышение </a:t>
            </a:r>
            <a:r>
              <a:rPr lang="ru-RU" sz="1400" dirty="0"/>
              <a:t>экономической </a:t>
            </a:r>
            <a:r>
              <a:rPr lang="ru-RU" sz="1400" dirty="0" smtClean="0"/>
              <a:t>активности: запрос </a:t>
            </a:r>
            <a:r>
              <a:rPr lang="ru-RU" sz="1400" dirty="0" smtClean="0"/>
              <a:t>бизнеса по предоставлению земельных участков или размещение объектов </a:t>
            </a:r>
            <a:r>
              <a:rPr lang="ru-RU" sz="1400" dirty="0" smtClean="0"/>
              <a:t>недвижимости.</a:t>
            </a:r>
            <a:endParaRPr lang="ru-RU" sz="1400" dirty="0" smtClean="0"/>
          </a:p>
          <a:p>
            <a:pPr marL="0" indent="0">
              <a:buNone/>
            </a:pPr>
            <a:endParaRPr lang="ru-RU" sz="1800" dirty="0"/>
          </a:p>
          <a:p>
            <a:pPr marL="0" indent="0">
              <a:buNone/>
            </a:pPr>
            <a:r>
              <a:rPr lang="ru-RU" sz="1800" dirty="0" smtClean="0"/>
              <a:t>Сторонние показатели эффективности:</a:t>
            </a:r>
          </a:p>
          <a:p>
            <a:pPr marL="0" indent="0">
              <a:buNone/>
            </a:pPr>
            <a:r>
              <a:rPr lang="ru-RU" sz="1400" dirty="0" smtClean="0"/>
              <a:t>Увеличение стоимости </a:t>
            </a:r>
            <a:r>
              <a:rPr lang="ru-RU" sz="1400" dirty="0" smtClean="0"/>
              <a:t>жилой </a:t>
            </a:r>
            <a:r>
              <a:rPr lang="ru-RU" sz="1400" dirty="0" smtClean="0"/>
              <a:t>недвижимости выше показателя инфляции, </a:t>
            </a:r>
            <a:r>
              <a:rPr lang="ru-RU" sz="1400" dirty="0"/>
              <a:t>приближение </a:t>
            </a:r>
            <a:r>
              <a:rPr lang="ru-RU" sz="1400" dirty="0" smtClean="0"/>
              <a:t>к стоимости </a:t>
            </a:r>
            <a:r>
              <a:rPr lang="ru-RU" sz="1400" dirty="0"/>
              <a:t>аналогичного жилья со сходными характеристиками </a:t>
            </a:r>
            <a:r>
              <a:rPr lang="ru-RU" sz="1400" dirty="0" smtClean="0"/>
              <a:t>внутри </a:t>
            </a:r>
            <a:r>
              <a:rPr lang="ru-RU" sz="1400" dirty="0"/>
              <a:t>районов на расстоянии до 1,5 км. </a:t>
            </a:r>
            <a:endParaRPr lang="ru-RU" sz="1400" dirty="0" smtClean="0"/>
          </a:p>
          <a:p>
            <a:pPr marL="0" indent="0">
              <a:buNone/>
            </a:pPr>
            <a:r>
              <a:rPr lang="ru-RU" sz="1400" dirty="0" smtClean="0"/>
              <a:t>Уменьшение траффика автотранспорта в связи со снижением потребности добраться до мест повседневного отдых (включая выгул домашних животных).</a:t>
            </a:r>
          </a:p>
          <a:p>
            <a:pPr marL="0" indent="0">
              <a:buNone/>
            </a:pPr>
            <a:r>
              <a:rPr lang="ru-RU" sz="1400" dirty="0" smtClean="0"/>
              <a:t>Увеличение количества площадок общего досуга, активностей, </a:t>
            </a:r>
            <a:r>
              <a:rPr lang="ru-RU" sz="1400" dirty="0" smtClean="0"/>
              <a:t>зон рекреации</a:t>
            </a:r>
            <a:r>
              <a:rPr lang="ru-RU" sz="1400" dirty="0" smtClean="0"/>
              <a:t>.</a:t>
            </a:r>
          </a:p>
          <a:p>
            <a:pPr marL="0" indent="0">
              <a:buNone/>
            </a:pPr>
            <a:r>
              <a:rPr lang="ru-RU" sz="1400" dirty="0" smtClean="0"/>
              <a:t>Снижение количества жалоб на состояние качества воздуха в районах прилегающих к санитарным зонам промышленных предприятий.</a:t>
            </a:r>
            <a:endParaRPr lang="ru-RU" sz="1400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60926"/>
            <a:ext cx="11252138" cy="387798"/>
          </a:xfrm>
        </p:spPr>
        <p:txBody>
          <a:bodyPr/>
          <a:lstStyle/>
          <a:p>
            <a:r>
              <a:rPr lang="ru-RU" sz="2800" dirty="0"/>
              <a:t>Анализ рынка, целевая аудитория</a:t>
            </a:r>
          </a:p>
        </p:txBody>
      </p:sp>
    </p:spTree>
    <p:extLst>
      <p:ext uri="{BB962C8B-B14F-4D97-AF65-F5344CB8AC3E}">
        <p14:creationId xmlns:p14="http://schemas.microsoft.com/office/powerpoint/2010/main" val="2896207829"/>
      </p:ext>
    </p:extLst>
  </p:cSld>
  <p:clrMapOvr>
    <a:masterClrMapping/>
  </p:clrMapOvr>
  <p:transition spd="slow">
    <p:wipe dir="r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794891"/>
            <a:ext cx="11252138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200" b="0" spc="0" dirty="0"/>
              <a:t>Какие материальные и нематериальные объекты, продукты и (или) услуги мы создадим в рамках проекта. </a:t>
            </a:r>
            <a:br>
              <a:rPr lang="ru-RU" sz="1200" b="0" spc="0" dirty="0"/>
            </a:br>
            <a:r>
              <a:rPr lang="ru-RU" sz="1200" b="0" spc="0" dirty="0"/>
              <a:t>Краткосрочные и долгосрочные ключевые результаты проекта, описание их взаимосвязи. По возможности представьте в виде дерева продуктов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453242"/>
            <a:ext cx="11252200" cy="4631872"/>
          </a:xfrm>
        </p:spPr>
        <p:txBody>
          <a:bodyPr/>
          <a:lstStyle/>
          <a:p>
            <a:r>
              <a:rPr lang="ru-RU" sz="1800" dirty="0" smtClean="0"/>
              <a:t>В рамках проекта достигаются цели:</a:t>
            </a:r>
          </a:p>
          <a:p>
            <a:pPr marL="342900" indent="-342900">
              <a:buAutoNum type="arabicPeriod"/>
            </a:pPr>
            <a:r>
              <a:rPr lang="ru-RU" sz="1400" dirty="0" smtClean="0"/>
              <a:t>Уменьшение оттока населения из городов с высоким уровнем загрязнения </a:t>
            </a:r>
            <a:r>
              <a:rPr lang="ru-RU" sz="1400" dirty="0" smtClean="0"/>
              <a:t>воздуха.</a:t>
            </a:r>
            <a:endParaRPr lang="ru-RU" sz="1400" dirty="0" smtClean="0"/>
          </a:p>
          <a:p>
            <a:pPr marL="342900" indent="-342900">
              <a:buAutoNum type="arabicPeriod"/>
            </a:pPr>
            <a:r>
              <a:rPr lang="ru-RU" sz="1400" dirty="0" smtClean="0"/>
              <a:t>Территории </a:t>
            </a:r>
            <a:r>
              <a:rPr lang="ru-RU" sz="1400" dirty="0"/>
              <a:t>со сниженным загрязнением </a:t>
            </a:r>
            <a:r>
              <a:rPr lang="ru-RU" sz="1400" dirty="0" smtClean="0"/>
              <a:t>атмосферы</a:t>
            </a:r>
            <a:r>
              <a:rPr lang="ru-RU" sz="1400" dirty="0" smtClean="0"/>
              <a:t>. </a:t>
            </a:r>
            <a:endParaRPr lang="ru-RU" sz="1400" dirty="0" smtClean="0"/>
          </a:p>
          <a:p>
            <a:pPr marL="342900" indent="-342900">
              <a:buAutoNum type="arabicPeriod"/>
            </a:pPr>
            <a:r>
              <a:rPr lang="ru-RU" sz="1400" dirty="0"/>
              <a:t>Развитие сети </a:t>
            </a:r>
            <a:r>
              <a:rPr lang="ru-RU" sz="1400" dirty="0" smtClean="0"/>
              <a:t>питомников, в том числе</a:t>
            </a:r>
            <a:r>
              <a:rPr lang="ru-RU" sz="1400" dirty="0" smtClean="0"/>
              <a:t> создание </a:t>
            </a:r>
            <a:r>
              <a:rPr lang="ru-RU" sz="1400" dirty="0"/>
              <a:t>специализированных отделов в </a:t>
            </a:r>
            <a:r>
              <a:rPr lang="ru-RU" sz="1400" dirty="0" smtClean="0"/>
              <a:t>существующих питомниках</a:t>
            </a:r>
            <a:endParaRPr lang="ru-RU" sz="1400" dirty="0" smtClean="0"/>
          </a:p>
          <a:p>
            <a:pPr marL="342900" indent="-342900">
              <a:buAutoNum type="arabicPeriod"/>
            </a:pPr>
            <a:r>
              <a:rPr lang="ru-RU" sz="1400" dirty="0" smtClean="0"/>
              <a:t>Создание экспертного сообщества</a:t>
            </a:r>
            <a:r>
              <a:rPr lang="ru-RU" sz="1400" dirty="0" smtClean="0"/>
              <a:t>.</a:t>
            </a:r>
          </a:p>
          <a:p>
            <a:pPr marL="342900" indent="-342900">
              <a:buAutoNum type="arabicPeriod"/>
            </a:pPr>
            <a:r>
              <a:rPr lang="ru-RU" sz="1400" dirty="0"/>
              <a:t>Нарабатывается методика разработки создания подобных зон </a:t>
            </a:r>
            <a:r>
              <a:rPr lang="ru-RU" sz="1400" dirty="0" smtClean="0"/>
              <a:t>рекреации </a:t>
            </a:r>
            <a:r>
              <a:rPr lang="ru-RU" sz="1400" dirty="0"/>
              <a:t>для административных подразделений в городах </a:t>
            </a:r>
            <a:r>
              <a:rPr lang="ru-RU" sz="1400" dirty="0" smtClean="0"/>
              <a:t>России.</a:t>
            </a:r>
            <a:endParaRPr lang="ru-RU" sz="1800" dirty="0"/>
          </a:p>
          <a:p>
            <a:pPr marL="0" indent="0">
              <a:buNone/>
            </a:pPr>
            <a:r>
              <a:rPr lang="ru-RU" sz="1800" dirty="0" smtClean="0"/>
              <a:t> В рамках проекта создаются: </a:t>
            </a:r>
            <a:endParaRPr lang="ru-RU" sz="1800" dirty="0"/>
          </a:p>
          <a:p>
            <a:pPr marL="342900" indent="-342900">
              <a:buAutoNum type="arabicPeriod"/>
            </a:pPr>
            <a:r>
              <a:rPr lang="ru-RU" sz="1400" dirty="0" smtClean="0"/>
              <a:t>Методология взаимодействия участников проекта (ОМСУ, жители городов, НКО, промышленные предприятия, волонтерские движения, общественники)</a:t>
            </a:r>
          </a:p>
          <a:p>
            <a:pPr marL="342900" indent="-342900">
              <a:buAutoNum type="arabicPeriod"/>
            </a:pPr>
            <a:r>
              <a:rPr lang="ru-RU" sz="1400" dirty="0" smtClean="0"/>
              <a:t>Сводный каталог стандартов зеленых насаждений</a:t>
            </a:r>
          </a:p>
          <a:p>
            <a:pPr marL="342900" indent="-342900">
              <a:buAutoNum type="arabicPeriod"/>
            </a:pPr>
            <a:r>
              <a:rPr lang="ru-RU" sz="1400" dirty="0" smtClean="0"/>
              <a:t>Сводный календарный ежегодный план-график работ</a:t>
            </a:r>
          </a:p>
          <a:p>
            <a:pPr marL="342900" indent="-342900">
              <a:buAutoNum type="arabicPeriod"/>
            </a:pPr>
            <a:r>
              <a:rPr lang="ru-RU" sz="1400" dirty="0" smtClean="0"/>
              <a:t>Площадка для взаимодействия </a:t>
            </a:r>
            <a:r>
              <a:rPr lang="ru-RU" sz="1400" dirty="0" smtClean="0"/>
              <a:t>жителей города, органов власти, экспертного сообщества, НКО.</a:t>
            </a:r>
          </a:p>
          <a:p>
            <a:pPr marL="342900" indent="-342900">
              <a:buAutoNum type="arabicPeriod"/>
            </a:pPr>
            <a:r>
              <a:rPr lang="ru-RU" sz="1400" dirty="0" smtClean="0"/>
              <a:t>Типовое решение озеленения городских территорий, в том числе на основе модульного принципа.</a:t>
            </a:r>
            <a:endParaRPr lang="ru-RU" sz="1400" dirty="0" smtClean="0"/>
          </a:p>
          <a:p>
            <a:pPr marL="342900" indent="-342900">
              <a:buAutoNum type="arabicPeriod"/>
            </a:pPr>
            <a:endParaRPr lang="ru-RU" sz="1400" dirty="0" smtClean="0"/>
          </a:p>
          <a:p>
            <a:pPr marL="342900" indent="-342900">
              <a:buAutoNum type="arabicPeriod"/>
            </a:pPr>
            <a:endParaRPr lang="ru-RU" sz="1400" dirty="0" smtClean="0"/>
          </a:p>
          <a:p>
            <a:pPr marL="342900" indent="-342900">
              <a:buAutoNum type="arabicPeriod"/>
            </a:pPr>
            <a:endParaRPr lang="ru-RU" sz="1800" dirty="0" smtClean="0"/>
          </a:p>
          <a:p>
            <a:pPr marL="342900" indent="-342900">
              <a:buAutoNum type="arabicPeriod"/>
            </a:pPr>
            <a:endParaRPr lang="ru-RU" sz="1800" dirty="0" smtClean="0"/>
          </a:p>
          <a:p>
            <a:pPr marL="342900" indent="-342900">
              <a:buAutoNum type="arabicPeriod"/>
            </a:pPr>
            <a:endParaRPr lang="ru-RU" sz="1800" dirty="0" smtClean="0"/>
          </a:p>
          <a:p>
            <a:endParaRPr lang="ru-RU" sz="1800" dirty="0"/>
          </a:p>
          <a:p>
            <a:pPr marL="0" indent="0">
              <a:buNone/>
            </a:pPr>
            <a:endParaRPr lang="ru-RU" sz="1800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271671"/>
            <a:ext cx="11252138" cy="430887"/>
          </a:xfrm>
        </p:spPr>
        <p:txBody>
          <a:bodyPr/>
          <a:lstStyle/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2800" dirty="0"/>
              <a:t>Ключевые результаты (продукты) проекта </a:t>
            </a:r>
          </a:p>
        </p:txBody>
      </p:sp>
    </p:spTree>
    <p:extLst>
      <p:ext uri="{BB962C8B-B14F-4D97-AF65-F5344CB8AC3E}">
        <p14:creationId xmlns:p14="http://schemas.microsoft.com/office/powerpoint/2010/main" val="1163270033"/>
      </p:ext>
    </p:extLst>
  </p:cSld>
  <p:clrMapOvr>
    <a:masterClrMapping/>
  </p:clrMapOvr>
  <p:transition spd="slow">
    <p:wipe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794891"/>
            <a:ext cx="11252138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200" b="0" spc="0" dirty="0"/>
              <a:t>Какие материальные и нематериальные объекты, продукты и (или) услуги мы создадим в рамках проекта. </a:t>
            </a:r>
            <a:br>
              <a:rPr lang="ru-RU" sz="1200" b="0" spc="0" dirty="0"/>
            </a:br>
            <a:r>
              <a:rPr lang="ru-RU" sz="1200" b="0" spc="0" dirty="0"/>
              <a:t>Краткосрочные и долгосрочные ключевые результаты проекта, описание их взаимосвязи. По возможности представьте в виде дерева продуктов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943" y="1348889"/>
            <a:ext cx="11143632" cy="5030139"/>
          </a:xfrm>
        </p:spPr>
        <p:txBody>
          <a:bodyPr/>
          <a:lstStyle/>
          <a:p>
            <a:r>
              <a:rPr lang="ru-RU" sz="1800" dirty="0" smtClean="0"/>
              <a:t>Экспертное сообщество</a:t>
            </a:r>
          </a:p>
          <a:p>
            <a:pPr marL="0" indent="0">
              <a:buNone/>
            </a:pPr>
            <a:r>
              <a:rPr lang="ru-RU" sz="1400" dirty="0" smtClean="0"/>
              <a:t>Экспертный орган признаваемый всеми заинтересованными сторонами – ОМСУ, жители, НКО и волонтерские движения, бизнес. Закрепление статуса экспертного сообщества на уровне администрации города. </a:t>
            </a:r>
          </a:p>
          <a:p>
            <a:pPr marL="0" indent="0">
              <a:buNone/>
            </a:pPr>
            <a:r>
              <a:rPr lang="ru-RU" sz="1400" dirty="0" smtClean="0"/>
              <a:t>Разрабатывает и создает стандарты для видов ступеней защитный зеленых зон с учетом текущей ситуации загрязнения воздуха.</a:t>
            </a:r>
          </a:p>
          <a:p>
            <a:pPr marL="0" indent="0">
              <a:buNone/>
            </a:pPr>
            <a:r>
              <a:rPr lang="ru-RU" sz="1400" dirty="0"/>
              <a:t>Разрабатывает и создает стандарты </a:t>
            </a:r>
            <a:r>
              <a:rPr lang="ru-RU" sz="1400" dirty="0" smtClean="0"/>
              <a:t>по посадке, уходу, содержанию зеленых насаждений.</a:t>
            </a:r>
          </a:p>
          <a:p>
            <a:pPr marL="0" indent="0">
              <a:buNone/>
            </a:pPr>
            <a:r>
              <a:rPr lang="ru-RU" sz="1400" dirty="0" smtClean="0"/>
              <a:t>Разрабатывает критерии оценки и утверждает годовой план график работ по созданию защитных многоступенчатых защитных зеленых зон.</a:t>
            </a:r>
          </a:p>
          <a:p>
            <a:pPr marL="0" indent="0">
              <a:buNone/>
            </a:pPr>
            <a:r>
              <a:rPr lang="ru-RU" sz="1400" dirty="0"/>
              <a:t>Определяет необходимую специализацию питомников и необходимость создания. Формирует и утверждает прогнозный план для питомников.</a:t>
            </a:r>
          </a:p>
          <a:p>
            <a:pPr marL="0" indent="0">
              <a:buNone/>
            </a:pPr>
            <a:r>
              <a:rPr lang="ru-RU" sz="1800" dirty="0" smtClean="0"/>
              <a:t> </a:t>
            </a:r>
            <a:endParaRPr lang="ru-RU" sz="1800" dirty="0"/>
          </a:p>
          <a:p>
            <a:endParaRPr lang="ru-RU" sz="1800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271671"/>
            <a:ext cx="11252138" cy="430887"/>
          </a:xfrm>
        </p:spPr>
        <p:txBody>
          <a:bodyPr/>
          <a:lstStyle/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2800" dirty="0"/>
              <a:t>Ключевые результаты (продукты) проекта </a:t>
            </a:r>
          </a:p>
        </p:txBody>
      </p:sp>
    </p:spTree>
    <p:extLst>
      <p:ext uri="{BB962C8B-B14F-4D97-AF65-F5344CB8AC3E}">
        <p14:creationId xmlns:p14="http://schemas.microsoft.com/office/powerpoint/2010/main" val="1264107658"/>
      </p:ext>
    </p:extLst>
  </p:cSld>
  <p:clrMapOvr>
    <a:masterClrMapping/>
  </p:clrMapOvr>
  <p:transition spd="slow">
    <p:wipe dir="r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794891"/>
            <a:ext cx="11252138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200" b="0" spc="0" dirty="0"/>
              <a:t>Какие материальные и нематериальные объекты, продукты и (или) услуги мы создадим в рамках проекта. </a:t>
            </a:r>
            <a:br>
              <a:rPr lang="ru-RU" sz="1200" b="0" spc="0" dirty="0"/>
            </a:br>
            <a:r>
              <a:rPr lang="ru-RU" sz="1200" b="0" spc="0" dirty="0"/>
              <a:t>Краткосрочные и долгосрочные ключевые результаты проекта, описание их взаимосвязи. По возможности представьте в виде дерева продуктов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6943" y="1348890"/>
            <a:ext cx="11143632" cy="642258"/>
          </a:xfrm>
        </p:spPr>
        <p:txBody>
          <a:bodyPr/>
          <a:lstStyle/>
          <a:p>
            <a:pPr marL="0" indent="0">
              <a:buNone/>
            </a:pPr>
            <a:r>
              <a:rPr lang="ru-RU" sz="1800" dirty="0" smtClean="0"/>
              <a:t>Состав процессов и результатов</a:t>
            </a:r>
          </a:p>
          <a:p>
            <a:endParaRPr lang="ru-RU" sz="1800" dirty="0"/>
          </a:p>
          <a:p>
            <a:endParaRPr lang="ru-RU" sz="1800" dirty="0" smtClean="0"/>
          </a:p>
          <a:p>
            <a:endParaRPr lang="ru-RU" sz="1800" dirty="0"/>
          </a:p>
          <a:p>
            <a:endParaRPr lang="ru-RU" sz="1800" dirty="0" smtClean="0"/>
          </a:p>
          <a:p>
            <a:endParaRPr lang="ru-RU" sz="1800" dirty="0"/>
          </a:p>
          <a:p>
            <a:endParaRPr lang="ru-RU" sz="1800" dirty="0" smtClean="0"/>
          </a:p>
          <a:p>
            <a:endParaRPr lang="ru-RU" sz="1800" dirty="0"/>
          </a:p>
          <a:p>
            <a:endParaRPr lang="ru-RU" sz="1800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271671"/>
            <a:ext cx="11252138" cy="430887"/>
          </a:xfrm>
        </p:spPr>
        <p:txBody>
          <a:bodyPr/>
          <a:lstStyle/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2800" dirty="0"/>
              <a:t>Ключевые результаты (продукты) проекта </a:t>
            </a: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325990305"/>
              </p:ext>
            </p:extLst>
          </p:nvPr>
        </p:nvGraphicFramePr>
        <p:xfrm>
          <a:off x="335787" y="1631919"/>
          <a:ext cx="11625943" cy="52260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55761587"/>
      </p:ext>
    </p:extLst>
  </p:cSld>
  <p:clrMapOvr>
    <a:masterClrMapping/>
  </p:clrMapOvr>
  <p:transition spd="slow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doEKL.2RgQHQalDTXZ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W1kh1xM9YISgid6L0C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W1kh1xM9YISgid6L0C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d7rzmJL6jrXQhwKjXa0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Tk1I4QkGtFW2db9u1K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XSTtF6ODYyeQSvvdB07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AAd4xmsVRNTwv8wQhXZ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U4nPkygi0QBUhgZ.sx0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PKLxkqHztSX7Oj2Wrus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zeD2LNBonTcNaAMPD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xGrau2RwJYwraYLuk4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_DvHly8Fx7_eykMmQkb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bSWA7_wUtN.tTyrdQP2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D553yf2KIW7nsbg_Tw9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X.il3CqsxZ5Lt1rFBv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RcwSga_ySjofpVt8Zz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J2MrTPweYmQPbQpW5t8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dQ3ePIdt9kATCIOZ6B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tWMpU5Y9ay8OCpAMKH.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01S6d6NaWxwiv1sTEb5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ChfdGjUuDZ_6FtbH1l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aP__09mM8TAhp0ZjCyX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iCDYFvkK7VyaWxcGQ.T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V4JGhE6sBUZnTSSmLKG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tJwZb4Ps86O_0Dl9sl4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Z4tYyORtm6KuGgf2dyK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_CUu.q2fDo6NkTwmL5M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JrVWiiXj3VfdDiAwYd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yl6OPGtv3aRymkbv12cQ"/>
</p:tagLst>
</file>

<file path=ppt/theme/theme1.xml><?xml version="1.0" encoding="utf-8"?>
<a:theme xmlns:a="http://schemas.openxmlformats.org/drawingml/2006/main" name="Office Theme">
  <a:themeElements>
    <a:clrScheme name="Починок_New">
      <a:dk1>
        <a:srgbClr val="1C1F26"/>
      </a:dk1>
      <a:lt1>
        <a:sysClr val="window" lastClr="FFFFFF"/>
      </a:lt1>
      <a:dk2>
        <a:srgbClr val="1C1F26"/>
      </a:dk2>
      <a:lt2>
        <a:srgbClr val="E7E6E6"/>
      </a:lt2>
      <a:accent1>
        <a:srgbClr val="D6AE7B"/>
      </a:accent1>
      <a:accent2>
        <a:srgbClr val="C8CBD2"/>
      </a:accent2>
      <a:accent3>
        <a:srgbClr val="AFBBC7"/>
      </a:accent3>
      <a:accent4>
        <a:srgbClr val="657181"/>
      </a:accent4>
      <a:accent5>
        <a:srgbClr val="40BBB1"/>
      </a:accent5>
      <a:accent6>
        <a:srgbClr val="3D9C23"/>
      </a:accent6>
      <a:hlink>
        <a:srgbClr val="00B0F0"/>
      </a:hlink>
      <a:folHlink>
        <a:srgbClr val="0070C0"/>
      </a:folHlink>
    </a:clrScheme>
    <a:fontScheme name="Sberbank HR 1">
      <a:majorFont>
        <a:latin typeface="Calibri Light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lIns="0" tIns="0" rIns="0" bIns="0">
        <a:spAutoFit/>
      </a:bodyPr>
      <a:lstStyle>
        <a:defPPr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00766</TotalTime>
  <Words>2848</Words>
  <Application>Microsoft Office PowerPoint</Application>
  <PresentationFormat>Широкоэкранный</PresentationFormat>
  <Paragraphs>429</Paragraphs>
  <Slides>2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28" baseType="lpstr">
      <vt:lpstr>Arial</vt:lpstr>
      <vt:lpstr>Calibri</vt:lpstr>
      <vt:lpstr>Calibri Light</vt:lpstr>
      <vt:lpstr>Trebuchet MS</vt:lpstr>
      <vt:lpstr>Office Theme</vt:lpstr>
      <vt:lpstr>Слайд think-cell</vt:lpstr>
      <vt:lpstr>Презентация PowerPoint</vt:lpstr>
      <vt:lpstr>Какую актуальную проблему адресует проект ? Каков масштаб проблемы? Приведите ключевые данные</vt:lpstr>
      <vt:lpstr>Каковы целевые эффекты от реализации? Какие показатели изменятся, в какой мере?</vt:lpstr>
      <vt:lpstr>Краткое описание предлагаемого решения. </vt:lpstr>
      <vt:lpstr>На какие сегменты населения\рынка ориентирован проект и его продукт? Укажите размер целевой аудитории – текущий и в перспективе </vt:lpstr>
      <vt:lpstr>На какие сегменты населения\рынка ориентирован проект и его продукт? Укажите размер целевой аудитории – текущий и в перспективе </vt:lpstr>
      <vt:lpstr>Какие материальные и нематериальные объекты, продукты и (или) услуги мы создадим в рамках проекта.  Краткосрочные и долгосрочные ключевые результаты проекта, описание их взаимосвязи. По возможности представьте в виде дерева продуктов</vt:lpstr>
      <vt:lpstr>Какие материальные и нематериальные объекты, продукты и (или) услуги мы создадим в рамках проекта.  Краткосрочные и долгосрочные ключевые результаты проекта, описание их взаимосвязи. По возможности представьте в виде дерева продуктов</vt:lpstr>
      <vt:lpstr>Какие материальные и нематериальные объекты, продукты и (или) услуги мы создадим в рамках проекта.  Краткосрочные и долгосрочные ключевые результаты проекта, описание их взаимосвязи. По возможности представьте в виде дерева продуктов</vt:lpstr>
      <vt:lpstr>Чем ваш замысел отличается от аналогов и существующих решений?</vt:lpstr>
      <vt:lpstr>Идея ⟶ Наличие прототипа/макета/опытного образца ⟶ Наличие экспертизы/поддержки сообщества и спонсоров/договоренностей/ресурсной базы ⟶  Реализованный пилот или локальное внедрение ⟶ Готовность передачи в производство или тиражирование. </vt:lpstr>
      <vt:lpstr>Заказчик или лицо, выполняющее функцию заказчика (=владелец продукта, приёмщик результата проекта), функциональный заказчик (=пользователь продукта проекта), держатель бюджета, куратор, руководитель проекта, администратор проекта (если предусматривается), причастные заинтересованные стороны (стейкхолдеры).</vt:lpstr>
      <vt:lpstr>Заказчик или лицо, выполняющее функцию заказчика (=владелец продукта, приёмщик результата проекта), функциональный заказчик (=пользователь продукта проекта), держатель бюджета, куратор, руководитель проекта, администратор проекта (если предусматривается), причастные заинтересованные стороны (стейкхолдеры).</vt:lpstr>
      <vt:lpstr>Заказчик или лицо, выполняющее функцию заказчика (=владелец продукта, приёмщик результата проекта), функциональный заказчик (=пользователь продукта проекта), держатель бюджета, куратор, руководитель проекта, администратор проекта (если предусматривается), причастные заинтересованные стороны (стейкхолдеры).</vt:lpstr>
      <vt:lpstr>Основные этапы проекта, контрольные точки, ведущие к достижению промежуточных и конечных результатов.</vt:lpstr>
      <vt:lpstr>Источники финансирования, наличие команды, инфраструктура и т.д.</vt:lpstr>
      <vt:lpstr>Источники финансирования, наличие команды, инфраструктура и т.д.</vt:lpstr>
      <vt:lpstr>Перечень ключевых рисков.</vt:lpstr>
      <vt:lpstr>Презентация PowerPoint</vt:lpstr>
      <vt:lpstr>По срокам, по стоимости, по технологиям, по безопасности, по географии и т.д. Изначальные ограничения должны быть учтены в плане действий</vt:lpstr>
      <vt:lpstr>Какой рынок создает, развивает реализация проекта? Какой эффект даст реализация проекта вне системы заявителя, а не внутри нее?  Изменение поведения людей или функционирования объектов и систем, к которому приводит использование результата проекта?</vt:lpstr>
      <vt:lpstr>Дополнительные элементы (прикрепляются отдельными документами на платформу)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ng island</dc:creator>
  <cp:lastModifiedBy>Слава</cp:lastModifiedBy>
  <cp:revision>2445</cp:revision>
  <dcterms:created xsi:type="dcterms:W3CDTF">2015-08-29T06:24:16Z</dcterms:created>
  <dcterms:modified xsi:type="dcterms:W3CDTF">2020-09-27T09:48:23Z</dcterms:modified>
</cp:coreProperties>
</file>